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6"/>
  </p:notesMasterIdLst>
  <p:sldIdLst>
    <p:sldId id="2147477095" r:id="rId5"/>
  </p:sldIdLst>
  <p:sldSz cx="12192000" cy="6858000"/>
  <p:notesSz cx="6797675" cy="9928225"/>
  <p:custDataLst>
    <p:tags r:id="rId7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4475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18F3549-45AB-889D-A620-1D6229FA49F7}" name="Sissel Ulstad" initials="SU" userId="S::Sissel.Ulstad@sensio.no::b4be3c77-d5d3-4180-ba79-192c98668b95" providerId="AD"/>
  <p188:author id="{CB6270B0-6D97-B3AE-BEC0-5E04A65607C7}" name="Marit Strandquist" initials="MS" userId="S::Marit.Strandquist@sensio.no::1f9556fd-df4f-407e-9f5b-4b59b3841da1" providerId="AD"/>
  <p188:author id="{21C191E9-CCA0-1D24-BDAB-1450423D04B1}" name="Sissel Ulstad" initials="SU" userId="S::sissel.ulstad@sensio.no::b4be3c77-d5d3-4180-ba79-192c98668b9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0000"/>
    <a:srgbClr val="FFCC00"/>
    <a:srgbClr val="003366"/>
    <a:srgbClr val="F0F1F2"/>
    <a:srgbClr val="0066CC"/>
    <a:srgbClr val="FF9933"/>
    <a:srgbClr val="003399"/>
    <a:srgbClr val="1D2242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Lys stil 2 – utheving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98" y="96"/>
      </p:cViewPr>
      <p:guideLst>
        <p:guide orient="horz" pos="3838"/>
        <p:guide pos="447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ine Kvalsvik" userId="caaf17b3-b16f-4a3b-80ba-cec7474b397c" providerId="ADAL" clId="{B1179FA3-C79D-44A2-9A59-6FB0CFDCA151}"/>
    <pc:docChg chg="modSld">
      <pc:chgData name="Kine Kvalsvik" userId="caaf17b3-b16f-4a3b-80ba-cec7474b397c" providerId="ADAL" clId="{B1179FA3-C79D-44A2-9A59-6FB0CFDCA151}" dt="2024-11-07T13:07:48.176" v="0"/>
      <pc:docMkLst>
        <pc:docMk/>
      </pc:docMkLst>
      <pc:sldChg chg="modSp">
        <pc:chgData name="Kine Kvalsvik" userId="caaf17b3-b16f-4a3b-80ba-cec7474b397c" providerId="ADAL" clId="{B1179FA3-C79D-44A2-9A59-6FB0CFDCA151}" dt="2024-11-07T13:07:48.176" v="0"/>
        <pc:sldMkLst>
          <pc:docMk/>
          <pc:sldMk cId="3897938415" sldId="2147477095"/>
        </pc:sldMkLst>
        <pc:graphicFrameChg chg="mod">
          <ac:chgData name="Kine Kvalsvik" userId="caaf17b3-b16f-4a3b-80ba-cec7474b397c" providerId="ADAL" clId="{B1179FA3-C79D-44A2-9A59-6FB0CFDCA151}" dt="2024-11-07T13:07:48.176" v="0"/>
          <ac:graphicFrameMkLst>
            <pc:docMk/>
            <pc:sldMk cId="3897938415" sldId="2147477095"/>
            <ac:graphicFrameMk id="3" creationId="{A012AC65-4565-A9E3-5376-626DFB0BE95A}"/>
          </ac:graphicFrameMkLst>
        </pc:graphicFrameChg>
      </pc:sldChg>
    </pc:docChg>
  </pc:docChgLst>
  <pc:docChgLst>
    <pc:chgData name="Sissel Ulstad" userId="b4be3c77-d5d3-4180-ba79-192c98668b95" providerId="ADAL" clId="{C12D94B3-BF5E-4CC2-BDD3-6179CF3A7701}"/>
    <pc:docChg chg="delSld modSld sldOrd">
      <pc:chgData name="Sissel Ulstad" userId="b4be3c77-d5d3-4180-ba79-192c98668b95" providerId="ADAL" clId="{C12D94B3-BF5E-4CC2-BDD3-6179CF3A7701}" dt="2024-09-23T11:16:35.607" v="3" actId="47"/>
      <pc:docMkLst>
        <pc:docMk/>
      </pc:docMkLst>
      <pc:sldChg chg="del">
        <pc:chgData name="Sissel Ulstad" userId="b4be3c77-d5d3-4180-ba79-192c98668b95" providerId="ADAL" clId="{C12D94B3-BF5E-4CC2-BDD3-6179CF3A7701}" dt="2024-09-23T11:16:29.807" v="2" actId="47"/>
        <pc:sldMkLst>
          <pc:docMk/>
          <pc:sldMk cId="1770644199" sldId="3509"/>
        </pc:sldMkLst>
      </pc:sldChg>
      <pc:sldChg chg="del">
        <pc:chgData name="Sissel Ulstad" userId="b4be3c77-d5d3-4180-ba79-192c98668b95" providerId="ADAL" clId="{C12D94B3-BF5E-4CC2-BDD3-6179CF3A7701}" dt="2024-09-23T11:16:35.607" v="3" actId="47"/>
        <pc:sldMkLst>
          <pc:docMk/>
          <pc:sldMk cId="2006764850" sldId="3630"/>
        </pc:sldMkLst>
      </pc:sldChg>
      <pc:sldChg chg="del">
        <pc:chgData name="Sissel Ulstad" userId="b4be3c77-d5d3-4180-ba79-192c98668b95" providerId="ADAL" clId="{C12D94B3-BF5E-4CC2-BDD3-6179CF3A7701}" dt="2024-09-23T11:16:35.607" v="3" actId="47"/>
        <pc:sldMkLst>
          <pc:docMk/>
          <pc:sldMk cId="2026776793" sldId="3832"/>
        </pc:sldMkLst>
      </pc:sldChg>
      <pc:sldChg chg="del">
        <pc:chgData name="Sissel Ulstad" userId="b4be3c77-d5d3-4180-ba79-192c98668b95" providerId="ADAL" clId="{C12D94B3-BF5E-4CC2-BDD3-6179CF3A7701}" dt="2024-09-23T11:16:29.807" v="2" actId="47"/>
        <pc:sldMkLst>
          <pc:docMk/>
          <pc:sldMk cId="3315646396" sldId="3833"/>
        </pc:sldMkLst>
      </pc:sldChg>
      <pc:sldChg chg="del">
        <pc:chgData name="Sissel Ulstad" userId="b4be3c77-d5d3-4180-ba79-192c98668b95" providerId="ADAL" clId="{C12D94B3-BF5E-4CC2-BDD3-6179CF3A7701}" dt="2024-09-23T11:16:29.807" v="2" actId="47"/>
        <pc:sldMkLst>
          <pc:docMk/>
          <pc:sldMk cId="3855932237" sldId="3866"/>
        </pc:sldMkLst>
      </pc:sldChg>
      <pc:sldChg chg="del">
        <pc:chgData name="Sissel Ulstad" userId="b4be3c77-d5d3-4180-ba79-192c98668b95" providerId="ADAL" clId="{C12D94B3-BF5E-4CC2-BDD3-6179CF3A7701}" dt="2024-09-23T11:16:29.807" v="2" actId="47"/>
        <pc:sldMkLst>
          <pc:docMk/>
          <pc:sldMk cId="2821090851" sldId="3870"/>
        </pc:sldMkLst>
      </pc:sldChg>
      <pc:sldChg chg="del">
        <pc:chgData name="Sissel Ulstad" userId="b4be3c77-d5d3-4180-ba79-192c98668b95" providerId="ADAL" clId="{C12D94B3-BF5E-4CC2-BDD3-6179CF3A7701}" dt="2024-09-23T11:16:29.807" v="2" actId="47"/>
        <pc:sldMkLst>
          <pc:docMk/>
          <pc:sldMk cId="1489852102" sldId="3871"/>
        </pc:sldMkLst>
      </pc:sldChg>
      <pc:sldChg chg="del">
        <pc:chgData name="Sissel Ulstad" userId="b4be3c77-d5d3-4180-ba79-192c98668b95" providerId="ADAL" clId="{C12D94B3-BF5E-4CC2-BDD3-6179CF3A7701}" dt="2024-09-23T11:16:29.807" v="2" actId="47"/>
        <pc:sldMkLst>
          <pc:docMk/>
          <pc:sldMk cId="4187884918" sldId="3873"/>
        </pc:sldMkLst>
      </pc:sldChg>
      <pc:sldChg chg="del">
        <pc:chgData name="Sissel Ulstad" userId="b4be3c77-d5d3-4180-ba79-192c98668b95" providerId="ADAL" clId="{C12D94B3-BF5E-4CC2-BDD3-6179CF3A7701}" dt="2024-09-23T11:16:29.807" v="2" actId="47"/>
        <pc:sldMkLst>
          <pc:docMk/>
          <pc:sldMk cId="3330649534" sldId="3875"/>
        </pc:sldMkLst>
      </pc:sldChg>
      <pc:sldChg chg="del">
        <pc:chgData name="Sissel Ulstad" userId="b4be3c77-d5d3-4180-ba79-192c98668b95" providerId="ADAL" clId="{C12D94B3-BF5E-4CC2-BDD3-6179CF3A7701}" dt="2024-09-23T11:16:29.807" v="2" actId="47"/>
        <pc:sldMkLst>
          <pc:docMk/>
          <pc:sldMk cId="3547997459" sldId="3876"/>
        </pc:sldMkLst>
      </pc:sldChg>
      <pc:sldChg chg="del">
        <pc:chgData name="Sissel Ulstad" userId="b4be3c77-d5d3-4180-ba79-192c98668b95" providerId="ADAL" clId="{C12D94B3-BF5E-4CC2-BDD3-6179CF3A7701}" dt="2024-09-23T11:16:35.607" v="3" actId="47"/>
        <pc:sldMkLst>
          <pc:docMk/>
          <pc:sldMk cId="2929090916" sldId="3950"/>
        </pc:sldMkLst>
      </pc:sldChg>
      <pc:sldChg chg="del">
        <pc:chgData name="Sissel Ulstad" userId="b4be3c77-d5d3-4180-ba79-192c98668b95" providerId="ADAL" clId="{C12D94B3-BF5E-4CC2-BDD3-6179CF3A7701}" dt="2024-09-23T11:16:35.607" v="3" actId="47"/>
        <pc:sldMkLst>
          <pc:docMk/>
          <pc:sldMk cId="1693112484" sldId="3953"/>
        </pc:sldMkLst>
      </pc:sldChg>
      <pc:sldChg chg="del">
        <pc:chgData name="Sissel Ulstad" userId="b4be3c77-d5d3-4180-ba79-192c98668b95" providerId="ADAL" clId="{C12D94B3-BF5E-4CC2-BDD3-6179CF3A7701}" dt="2024-09-23T11:16:35.607" v="3" actId="47"/>
        <pc:sldMkLst>
          <pc:docMk/>
          <pc:sldMk cId="1267362240" sldId="3954"/>
        </pc:sldMkLst>
      </pc:sldChg>
      <pc:sldChg chg="del">
        <pc:chgData name="Sissel Ulstad" userId="b4be3c77-d5d3-4180-ba79-192c98668b95" providerId="ADAL" clId="{C12D94B3-BF5E-4CC2-BDD3-6179CF3A7701}" dt="2024-09-23T11:16:35.607" v="3" actId="47"/>
        <pc:sldMkLst>
          <pc:docMk/>
          <pc:sldMk cId="594877673" sldId="2147477245"/>
        </pc:sldMkLst>
      </pc:sldChg>
      <pc:sldChg chg="del">
        <pc:chgData name="Sissel Ulstad" userId="b4be3c77-d5d3-4180-ba79-192c98668b95" providerId="ADAL" clId="{C12D94B3-BF5E-4CC2-BDD3-6179CF3A7701}" dt="2024-09-23T11:16:29.807" v="2" actId="47"/>
        <pc:sldMkLst>
          <pc:docMk/>
          <pc:sldMk cId="2986601695" sldId="2147477600"/>
        </pc:sldMkLst>
      </pc:sldChg>
      <pc:sldChg chg="del">
        <pc:chgData name="Sissel Ulstad" userId="b4be3c77-d5d3-4180-ba79-192c98668b95" providerId="ADAL" clId="{C12D94B3-BF5E-4CC2-BDD3-6179CF3A7701}" dt="2024-09-23T11:16:29.807" v="2" actId="47"/>
        <pc:sldMkLst>
          <pc:docMk/>
          <pc:sldMk cId="3645200962" sldId="2147477601"/>
        </pc:sldMkLst>
      </pc:sldChg>
      <pc:sldChg chg="del">
        <pc:chgData name="Sissel Ulstad" userId="b4be3c77-d5d3-4180-ba79-192c98668b95" providerId="ADAL" clId="{C12D94B3-BF5E-4CC2-BDD3-6179CF3A7701}" dt="2024-09-23T11:16:35.607" v="3" actId="47"/>
        <pc:sldMkLst>
          <pc:docMk/>
          <pc:sldMk cId="1644495828" sldId="2147477602"/>
        </pc:sldMkLst>
      </pc:sldChg>
      <pc:sldChg chg="del">
        <pc:chgData name="Sissel Ulstad" userId="b4be3c77-d5d3-4180-ba79-192c98668b95" providerId="ADAL" clId="{C12D94B3-BF5E-4CC2-BDD3-6179CF3A7701}" dt="2024-09-23T11:16:35.607" v="3" actId="47"/>
        <pc:sldMkLst>
          <pc:docMk/>
          <pc:sldMk cId="3783939196" sldId="2147477603"/>
        </pc:sldMkLst>
      </pc:sldChg>
      <pc:sldChg chg="del">
        <pc:chgData name="Sissel Ulstad" userId="b4be3c77-d5d3-4180-ba79-192c98668b95" providerId="ADAL" clId="{C12D94B3-BF5E-4CC2-BDD3-6179CF3A7701}" dt="2024-09-23T11:16:29.807" v="2" actId="47"/>
        <pc:sldMkLst>
          <pc:docMk/>
          <pc:sldMk cId="3047200668" sldId="2147477604"/>
        </pc:sldMkLst>
      </pc:sldChg>
      <pc:sldChg chg="del">
        <pc:chgData name="Sissel Ulstad" userId="b4be3c77-d5d3-4180-ba79-192c98668b95" providerId="ADAL" clId="{C12D94B3-BF5E-4CC2-BDD3-6179CF3A7701}" dt="2024-09-23T11:16:29.807" v="2" actId="47"/>
        <pc:sldMkLst>
          <pc:docMk/>
          <pc:sldMk cId="393712866" sldId="2147477605"/>
        </pc:sldMkLst>
      </pc:sldChg>
      <pc:sldChg chg="del">
        <pc:chgData name="Sissel Ulstad" userId="b4be3c77-d5d3-4180-ba79-192c98668b95" providerId="ADAL" clId="{C12D94B3-BF5E-4CC2-BDD3-6179CF3A7701}" dt="2024-09-23T11:16:29.807" v="2" actId="47"/>
        <pc:sldMkLst>
          <pc:docMk/>
          <pc:sldMk cId="1341358494" sldId="2147477607"/>
        </pc:sldMkLst>
      </pc:sldChg>
      <pc:sldChg chg="del">
        <pc:chgData name="Sissel Ulstad" userId="b4be3c77-d5d3-4180-ba79-192c98668b95" providerId="ADAL" clId="{C12D94B3-BF5E-4CC2-BDD3-6179CF3A7701}" dt="2024-09-23T11:16:29.807" v="2" actId="47"/>
        <pc:sldMkLst>
          <pc:docMk/>
          <pc:sldMk cId="1397166289" sldId="2147477609"/>
        </pc:sldMkLst>
      </pc:sldChg>
      <pc:sldChg chg="del">
        <pc:chgData name="Sissel Ulstad" userId="b4be3c77-d5d3-4180-ba79-192c98668b95" providerId="ADAL" clId="{C12D94B3-BF5E-4CC2-BDD3-6179CF3A7701}" dt="2024-09-23T11:16:29.807" v="2" actId="47"/>
        <pc:sldMkLst>
          <pc:docMk/>
          <pc:sldMk cId="370716949" sldId="2147477610"/>
        </pc:sldMkLst>
      </pc:sldChg>
      <pc:sldChg chg="ord">
        <pc:chgData name="Sissel Ulstad" userId="b4be3c77-d5d3-4180-ba79-192c98668b95" providerId="ADAL" clId="{C12D94B3-BF5E-4CC2-BDD3-6179CF3A7701}" dt="2024-09-23T11:16:26.166" v="1"/>
        <pc:sldMkLst>
          <pc:docMk/>
          <pc:sldMk cId="1146802210" sldId="2147477611"/>
        </pc:sldMkLst>
      </pc:sldChg>
    </pc:docChg>
  </pc:docChgLst>
  <pc:docChgLst>
    <pc:chgData name="Kine Kvalsvik" userId="caaf17b3-b16f-4a3b-80ba-cec7474b397c" providerId="ADAL" clId="{2EE9AE5F-8C62-425B-ADFC-F0FA4519F117}"/>
    <pc:docChg chg="delSld">
      <pc:chgData name="Kine Kvalsvik" userId="caaf17b3-b16f-4a3b-80ba-cec7474b397c" providerId="ADAL" clId="{2EE9AE5F-8C62-425B-ADFC-F0FA4519F117}" dt="2025-01-22T12:12:56.688" v="0" actId="47"/>
      <pc:docMkLst>
        <pc:docMk/>
      </pc:docMkLst>
      <pc:sldChg chg="del">
        <pc:chgData name="Kine Kvalsvik" userId="caaf17b3-b16f-4a3b-80ba-cec7474b397c" providerId="ADAL" clId="{2EE9AE5F-8C62-425B-ADFC-F0FA4519F117}" dt="2025-01-22T12:12:56.688" v="0" actId="47"/>
        <pc:sldMkLst>
          <pc:docMk/>
          <pc:sldMk cId="1146802210" sldId="2147477611"/>
        </pc:sldMkLst>
      </pc:sldChg>
    </pc:docChg>
  </pc:docChgLst>
  <pc:docChgLst>
    <pc:chgData name="Kine Kvalsvik" userId="caaf17b3-b16f-4a3b-80ba-cec7474b397c" providerId="ADAL" clId="{50BD9E3E-19BB-48C7-A813-61202A00261C}"/>
    <pc:docChg chg="custSel modSld">
      <pc:chgData name="Kine Kvalsvik" userId="caaf17b3-b16f-4a3b-80ba-cec7474b397c" providerId="ADAL" clId="{50BD9E3E-19BB-48C7-A813-61202A00261C}" dt="2024-09-27T03:34:26.302" v="3" actId="20577"/>
      <pc:docMkLst>
        <pc:docMk/>
      </pc:docMkLst>
      <pc:sldChg chg="modSp mod">
        <pc:chgData name="Kine Kvalsvik" userId="caaf17b3-b16f-4a3b-80ba-cec7474b397c" providerId="ADAL" clId="{50BD9E3E-19BB-48C7-A813-61202A00261C}" dt="2024-09-27T03:34:26.302" v="3" actId="20577"/>
        <pc:sldMkLst>
          <pc:docMk/>
          <pc:sldMk cId="1146802210" sldId="2147477611"/>
        </pc:sldMkLst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1CDCA9A-AF60-EC4B-BA0A-DBC046D04EDC}" type="doc">
      <dgm:prSet loTypeId="urn:microsoft.com/office/officeart/2005/8/layout/cycle4" loCatId="" qsTypeId="urn:microsoft.com/office/officeart/2005/8/quickstyle/simple1" qsCatId="simple" csTypeId="urn:microsoft.com/office/officeart/2005/8/colors/colorful4" csCatId="colorful" phldr="1"/>
      <dgm:spPr/>
    </dgm:pt>
    <dgm:pt modelId="{06D3F722-EAB4-2644-BFEB-364A60E13237}">
      <dgm:prSet phldrT="[Tekst]" custT="1"/>
      <dgm:spPr>
        <a:solidFill>
          <a:schemeClr val="accent2"/>
        </a:solidFill>
      </dgm:spPr>
      <dgm:t>
        <a:bodyPr/>
        <a:lstStyle/>
        <a:p>
          <a:r>
            <a:rPr lang="nb-NO" sz="2000" b="1"/>
            <a:t>Bruker</a:t>
          </a:r>
          <a:endParaRPr lang="nb-NO" sz="1600" b="1"/>
        </a:p>
      </dgm:t>
    </dgm:pt>
    <dgm:pt modelId="{BBE5C5E6-0376-EA49-A9B1-90DC64E9F34C}" type="parTrans" cxnId="{B3571161-B95A-CD42-83C8-3F31CD040A0A}">
      <dgm:prSet/>
      <dgm:spPr/>
      <dgm:t>
        <a:bodyPr/>
        <a:lstStyle/>
        <a:p>
          <a:endParaRPr lang="nb-NO"/>
        </a:p>
      </dgm:t>
    </dgm:pt>
    <dgm:pt modelId="{59A5A686-6407-CC4F-A297-9E2378D5A7E9}" type="sibTrans" cxnId="{B3571161-B95A-CD42-83C8-3F31CD040A0A}">
      <dgm:prSet/>
      <dgm:spPr/>
      <dgm:t>
        <a:bodyPr/>
        <a:lstStyle/>
        <a:p>
          <a:endParaRPr lang="nb-NO"/>
        </a:p>
      </dgm:t>
    </dgm:pt>
    <dgm:pt modelId="{1A610B2A-243E-F34E-9653-AD1628412744}">
      <dgm:prSet phldrT="[Tekst]" custT="1"/>
      <dgm:spPr>
        <a:ln>
          <a:solidFill>
            <a:schemeClr val="accent2"/>
          </a:solidFill>
        </a:ln>
      </dgm:spPr>
      <dgm:t>
        <a:bodyPr/>
        <a:lstStyle/>
        <a:p>
          <a:endParaRPr lang="nb-NO" sz="1600"/>
        </a:p>
      </dgm:t>
    </dgm:pt>
    <dgm:pt modelId="{87130CF1-5BEC-2144-B86A-E882D44BA93B}" type="parTrans" cxnId="{9D8FA653-C562-3545-9F53-290CF2A2EC56}">
      <dgm:prSet/>
      <dgm:spPr/>
      <dgm:t>
        <a:bodyPr/>
        <a:lstStyle/>
        <a:p>
          <a:endParaRPr lang="nb-NO"/>
        </a:p>
      </dgm:t>
    </dgm:pt>
    <dgm:pt modelId="{D61C0190-A0B7-614A-88B0-A83858A1B120}" type="sibTrans" cxnId="{9D8FA653-C562-3545-9F53-290CF2A2EC56}">
      <dgm:prSet/>
      <dgm:spPr/>
      <dgm:t>
        <a:bodyPr/>
        <a:lstStyle/>
        <a:p>
          <a:endParaRPr lang="nb-NO"/>
        </a:p>
      </dgm:t>
    </dgm:pt>
    <dgm:pt modelId="{9B6AD322-5BF0-9E42-996B-52B5EED8439C}">
      <dgm:prSet phldrT="[Tekst]" custT="1"/>
      <dgm:spPr>
        <a:ln>
          <a:solidFill>
            <a:schemeClr val="accent2"/>
          </a:solidFill>
        </a:ln>
      </dgm:spPr>
      <dgm:t>
        <a:bodyPr/>
        <a:lstStyle/>
        <a:p>
          <a:endParaRPr lang="nb-NO" sz="1600"/>
        </a:p>
      </dgm:t>
    </dgm:pt>
    <dgm:pt modelId="{EC85CE69-5E11-0340-9972-5A8F835F5313}" type="parTrans" cxnId="{B547783C-E4DC-D846-9685-2D983D2D217E}">
      <dgm:prSet/>
      <dgm:spPr/>
      <dgm:t>
        <a:bodyPr/>
        <a:lstStyle/>
        <a:p>
          <a:endParaRPr lang="nb-NO"/>
        </a:p>
      </dgm:t>
    </dgm:pt>
    <dgm:pt modelId="{10F0B73B-2EE1-6B46-9C9A-F8CDDD46CBEA}" type="sibTrans" cxnId="{B547783C-E4DC-D846-9685-2D983D2D217E}">
      <dgm:prSet/>
      <dgm:spPr/>
      <dgm:t>
        <a:bodyPr/>
        <a:lstStyle/>
        <a:p>
          <a:endParaRPr lang="nb-NO"/>
        </a:p>
      </dgm:t>
    </dgm:pt>
    <dgm:pt modelId="{122D5269-4DF5-5D4D-A2BC-6F66FC01E99D}">
      <dgm:prSet phldrT="[Tekst]" custT="1"/>
      <dgm:spPr>
        <a:solidFill>
          <a:schemeClr val="tx2"/>
        </a:solidFill>
      </dgm:spPr>
      <dgm:t>
        <a:bodyPr/>
        <a:lstStyle/>
        <a:p>
          <a:r>
            <a:rPr lang="nb-NO" sz="2000" b="1"/>
            <a:t>Pårørende</a:t>
          </a:r>
          <a:endParaRPr lang="nb-NO" sz="1600" b="1"/>
        </a:p>
      </dgm:t>
    </dgm:pt>
    <dgm:pt modelId="{2466FF33-F333-D546-97AF-47E99D516918}" type="parTrans" cxnId="{3D291936-A794-CF44-B716-6473AF77F742}">
      <dgm:prSet/>
      <dgm:spPr/>
      <dgm:t>
        <a:bodyPr/>
        <a:lstStyle/>
        <a:p>
          <a:endParaRPr lang="nb-NO"/>
        </a:p>
      </dgm:t>
    </dgm:pt>
    <dgm:pt modelId="{A30365F0-7BEA-ED4D-B45F-AC5931BE3539}" type="sibTrans" cxnId="{3D291936-A794-CF44-B716-6473AF77F742}">
      <dgm:prSet/>
      <dgm:spPr/>
      <dgm:t>
        <a:bodyPr/>
        <a:lstStyle/>
        <a:p>
          <a:endParaRPr lang="nb-NO"/>
        </a:p>
      </dgm:t>
    </dgm:pt>
    <dgm:pt modelId="{8F8C495A-EC22-ED4C-A84F-8070926906E4}">
      <dgm:prSet phldrT="[Tekst]" custT="1"/>
      <dgm:spPr>
        <a:ln>
          <a:solidFill>
            <a:schemeClr val="tx2"/>
          </a:solidFill>
        </a:ln>
      </dgm:spPr>
      <dgm:t>
        <a:bodyPr/>
        <a:lstStyle/>
        <a:p>
          <a:endParaRPr lang="nb-NO" sz="1600"/>
        </a:p>
      </dgm:t>
    </dgm:pt>
    <dgm:pt modelId="{5054CEC4-C568-3441-AFDD-642418370E39}" type="parTrans" cxnId="{29E9B29E-BA59-1B4B-8306-EEAD482EE5A6}">
      <dgm:prSet/>
      <dgm:spPr/>
      <dgm:t>
        <a:bodyPr/>
        <a:lstStyle/>
        <a:p>
          <a:endParaRPr lang="nb-NO"/>
        </a:p>
      </dgm:t>
    </dgm:pt>
    <dgm:pt modelId="{5D56E92C-B092-234C-BB02-1081DF63364C}" type="sibTrans" cxnId="{29E9B29E-BA59-1B4B-8306-EEAD482EE5A6}">
      <dgm:prSet/>
      <dgm:spPr/>
      <dgm:t>
        <a:bodyPr/>
        <a:lstStyle/>
        <a:p>
          <a:endParaRPr lang="nb-NO"/>
        </a:p>
      </dgm:t>
    </dgm:pt>
    <dgm:pt modelId="{570D51F1-6F32-8D46-B691-72629BB41A0F}">
      <dgm:prSet phldrT="[Tekst]" custT="1"/>
      <dgm:spPr>
        <a:solidFill>
          <a:schemeClr val="accent2"/>
        </a:solidFill>
      </dgm:spPr>
      <dgm:t>
        <a:bodyPr/>
        <a:lstStyle/>
        <a:p>
          <a:r>
            <a:rPr lang="nb-NO" sz="2000" b="1"/>
            <a:t>Helse-personell</a:t>
          </a:r>
          <a:endParaRPr lang="nb-NO" sz="1700" b="1"/>
        </a:p>
      </dgm:t>
    </dgm:pt>
    <dgm:pt modelId="{B4B46E51-FFED-6F46-870B-29FBF4F1B220}" type="parTrans" cxnId="{CA773A19-F721-5249-89C9-1D1C1D42FDC4}">
      <dgm:prSet/>
      <dgm:spPr/>
      <dgm:t>
        <a:bodyPr/>
        <a:lstStyle/>
        <a:p>
          <a:endParaRPr lang="nb-NO"/>
        </a:p>
      </dgm:t>
    </dgm:pt>
    <dgm:pt modelId="{5D7D51E2-DBC1-4549-833F-19A65FA6CE5B}" type="sibTrans" cxnId="{CA773A19-F721-5249-89C9-1D1C1D42FDC4}">
      <dgm:prSet/>
      <dgm:spPr/>
      <dgm:t>
        <a:bodyPr/>
        <a:lstStyle/>
        <a:p>
          <a:endParaRPr lang="nb-NO"/>
        </a:p>
      </dgm:t>
    </dgm:pt>
    <dgm:pt modelId="{00C27A5C-B526-BB4F-8ED3-6E3082D10B18}">
      <dgm:prSet phldrT="[Tekst]" custT="1"/>
      <dgm:spPr>
        <a:solidFill>
          <a:schemeClr val="accent1"/>
        </a:solidFill>
      </dgm:spPr>
      <dgm:t>
        <a:bodyPr/>
        <a:lstStyle/>
        <a:p>
          <a:r>
            <a:rPr lang="nb-NO" sz="2000" b="1"/>
            <a:t>Økonomi</a:t>
          </a:r>
          <a:endParaRPr lang="nb-NO" sz="2000"/>
        </a:p>
      </dgm:t>
    </dgm:pt>
    <dgm:pt modelId="{633DE042-39F9-7646-9CF3-BD367603635C}" type="parTrans" cxnId="{EC3E455E-9DFB-4F4D-BBCC-A47AF508DC07}">
      <dgm:prSet/>
      <dgm:spPr/>
      <dgm:t>
        <a:bodyPr/>
        <a:lstStyle/>
        <a:p>
          <a:endParaRPr lang="nb-NO"/>
        </a:p>
      </dgm:t>
    </dgm:pt>
    <dgm:pt modelId="{E08BB136-FA38-FA49-A76D-D43AA1D13060}" type="sibTrans" cxnId="{EC3E455E-9DFB-4F4D-BBCC-A47AF508DC07}">
      <dgm:prSet/>
      <dgm:spPr/>
      <dgm:t>
        <a:bodyPr/>
        <a:lstStyle/>
        <a:p>
          <a:endParaRPr lang="nb-NO"/>
        </a:p>
      </dgm:t>
    </dgm:pt>
    <dgm:pt modelId="{0CD58CF4-8850-AC4A-8D99-5C7FE267ECD8}">
      <dgm:prSet phldrT="[Tekst]" custT="1"/>
      <dgm:spPr>
        <a:ln>
          <a:solidFill>
            <a:schemeClr val="accent1"/>
          </a:solidFill>
        </a:ln>
      </dgm:spPr>
      <dgm:t>
        <a:bodyPr/>
        <a:lstStyle/>
        <a:p>
          <a:endParaRPr lang="nb-NO" sz="1600"/>
        </a:p>
      </dgm:t>
    </dgm:pt>
    <dgm:pt modelId="{BFC5A6F7-D7B0-CB41-8872-9770A2C6D48C}" type="parTrans" cxnId="{A79B67F3-78A7-2B47-AD34-AF4EACD6A233}">
      <dgm:prSet/>
      <dgm:spPr/>
      <dgm:t>
        <a:bodyPr/>
        <a:lstStyle/>
        <a:p>
          <a:endParaRPr lang="nb-NO"/>
        </a:p>
      </dgm:t>
    </dgm:pt>
    <dgm:pt modelId="{BD639A0F-6365-7F44-A176-C677C39EE631}" type="sibTrans" cxnId="{A79B67F3-78A7-2B47-AD34-AF4EACD6A233}">
      <dgm:prSet/>
      <dgm:spPr/>
      <dgm:t>
        <a:bodyPr/>
        <a:lstStyle/>
        <a:p>
          <a:endParaRPr lang="nb-NO"/>
        </a:p>
      </dgm:t>
    </dgm:pt>
    <dgm:pt modelId="{619B15EA-75FA-114D-A0CD-08446A4335CD}" type="pres">
      <dgm:prSet presAssocID="{D1CDCA9A-AF60-EC4B-BA0A-DBC046D04EDC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</dgm:pt>
    <dgm:pt modelId="{D836C0E8-9050-F448-BFE1-D26CA563AFF3}" type="pres">
      <dgm:prSet presAssocID="{D1CDCA9A-AF60-EC4B-BA0A-DBC046D04EDC}" presName="children" presStyleCnt="0"/>
      <dgm:spPr/>
    </dgm:pt>
    <dgm:pt modelId="{7234673A-E3FA-D44E-9DFE-469B98FB1C8E}" type="pres">
      <dgm:prSet presAssocID="{D1CDCA9A-AF60-EC4B-BA0A-DBC046D04EDC}" presName="child1group" presStyleCnt="0"/>
      <dgm:spPr/>
    </dgm:pt>
    <dgm:pt modelId="{77E7E828-9D55-0E49-9D9E-8FB8DEF8C14E}" type="pres">
      <dgm:prSet presAssocID="{D1CDCA9A-AF60-EC4B-BA0A-DBC046D04EDC}" presName="child1" presStyleLbl="bgAcc1" presStyleIdx="0" presStyleCnt="4" custScaleX="144935" custScaleY="152214" custLinFactNeighborX="1099" custLinFactNeighborY="-1824"/>
      <dgm:spPr/>
    </dgm:pt>
    <dgm:pt modelId="{3D0E29D4-5635-FC46-B9C8-95FB32C551D6}" type="pres">
      <dgm:prSet presAssocID="{D1CDCA9A-AF60-EC4B-BA0A-DBC046D04EDC}" presName="child1Text" presStyleLbl="bgAcc1" presStyleIdx="0" presStyleCnt="4">
        <dgm:presLayoutVars>
          <dgm:bulletEnabled val="1"/>
        </dgm:presLayoutVars>
      </dgm:prSet>
      <dgm:spPr/>
    </dgm:pt>
    <dgm:pt modelId="{872F2AC4-BCA5-124B-9445-4BF5EDA87A70}" type="pres">
      <dgm:prSet presAssocID="{D1CDCA9A-AF60-EC4B-BA0A-DBC046D04EDC}" presName="child2group" presStyleCnt="0"/>
      <dgm:spPr/>
    </dgm:pt>
    <dgm:pt modelId="{805C96EA-8834-E042-A5BC-110B5B6EF936}" type="pres">
      <dgm:prSet presAssocID="{D1CDCA9A-AF60-EC4B-BA0A-DBC046D04EDC}" presName="child2" presStyleLbl="bgAcc1" presStyleIdx="1" presStyleCnt="4" custScaleX="144300" custScaleY="156153" custLinFactNeighborX="-2968" custLinFactNeighborY="2141"/>
      <dgm:spPr/>
    </dgm:pt>
    <dgm:pt modelId="{7A646445-A75B-FF4A-9E19-31FA50E6A688}" type="pres">
      <dgm:prSet presAssocID="{D1CDCA9A-AF60-EC4B-BA0A-DBC046D04EDC}" presName="child2Text" presStyleLbl="bgAcc1" presStyleIdx="1" presStyleCnt="4">
        <dgm:presLayoutVars>
          <dgm:bulletEnabled val="1"/>
        </dgm:presLayoutVars>
      </dgm:prSet>
      <dgm:spPr/>
    </dgm:pt>
    <dgm:pt modelId="{389123AA-1FF9-6642-BA71-F3915A3D84C4}" type="pres">
      <dgm:prSet presAssocID="{D1CDCA9A-AF60-EC4B-BA0A-DBC046D04EDC}" presName="child3group" presStyleCnt="0"/>
      <dgm:spPr/>
    </dgm:pt>
    <dgm:pt modelId="{B50B30A1-4B01-FE4A-8F56-56C1767A66E3}" type="pres">
      <dgm:prSet presAssocID="{D1CDCA9A-AF60-EC4B-BA0A-DBC046D04EDC}" presName="child3" presStyleLbl="bgAcc1" presStyleIdx="2" presStyleCnt="4" custScaleX="147497" custScaleY="147287" custLinFactNeighborX="3802"/>
      <dgm:spPr/>
    </dgm:pt>
    <dgm:pt modelId="{1094CA44-569D-F74D-89D9-785242F42E63}" type="pres">
      <dgm:prSet presAssocID="{D1CDCA9A-AF60-EC4B-BA0A-DBC046D04EDC}" presName="child3Text" presStyleLbl="bgAcc1" presStyleIdx="2" presStyleCnt="4">
        <dgm:presLayoutVars>
          <dgm:bulletEnabled val="1"/>
        </dgm:presLayoutVars>
      </dgm:prSet>
      <dgm:spPr/>
    </dgm:pt>
    <dgm:pt modelId="{6C5C143C-811C-DF46-A294-728B004BFE46}" type="pres">
      <dgm:prSet presAssocID="{D1CDCA9A-AF60-EC4B-BA0A-DBC046D04EDC}" presName="child4group" presStyleCnt="0"/>
      <dgm:spPr/>
    </dgm:pt>
    <dgm:pt modelId="{82795004-8186-4C44-8DF5-0C843B1E4A08}" type="pres">
      <dgm:prSet presAssocID="{D1CDCA9A-AF60-EC4B-BA0A-DBC046D04EDC}" presName="child4" presStyleLbl="bgAcc1" presStyleIdx="3" presStyleCnt="4" custScaleX="143416" custScaleY="151116" custLinFactNeighborX="-2773"/>
      <dgm:spPr/>
    </dgm:pt>
    <dgm:pt modelId="{ACD5E097-7FA2-3D45-AB61-35B0C1FEBD00}" type="pres">
      <dgm:prSet presAssocID="{D1CDCA9A-AF60-EC4B-BA0A-DBC046D04EDC}" presName="child4Text" presStyleLbl="bgAcc1" presStyleIdx="3" presStyleCnt="4">
        <dgm:presLayoutVars>
          <dgm:bulletEnabled val="1"/>
        </dgm:presLayoutVars>
      </dgm:prSet>
      <dgm:spPr/>
    </dgm:pt>
    <dgm:pt modelId="{76A01ECE-C918-0F4D-8583-68385E17FA45}" type="pres">
      <dgm:prSet presAssocID="{D1CDCA9A-AF60-EC4B-BA0A-DBC046D04EDC}" presName="childPlaceholder" presStyleCnt="0"/>
      <dgm:spPr/>
    </dgm:pt>
    <dgm:pt modelId="{A19F55D9-F0F0-7A45-8AB2-DAD91AD8989E}" type="pres">
      <dgm:prSet presAssocID="{D1CDCA9A-AF60-EC4B-BA0A-DBC046D04EDC}" presName="circle" presStyleCnt="0"/>
      <dgm:spPr/>
    </dgm:pt>
    <dgm:pt modelId="{33EEC64D-1B20-BC4C-89F0-24FE1488B0F3}" type="pres">
      <dgm:prSet presAssocID="{D1CDCA9A-AF60-EC4B-BA0A-DBC046D04EDC}" presName="quadrant1" presStyleLbl="node1" presStyleIdx="0" presStyleCnt="4">
        <dgm:presLayoutVars>
          <dgm:chMax val="1"/>
          <dgm:bulletEnabled val="1"/>
        </dgm:presLayoutVars>
      </dgm:prSet>
      <dgm:spPr/>
    </dgm:pt>
    <dgm:pt modelId="{9C5362BE-A274-1F4D-9109-E4937EE9B673}" type="pres">
      <dgm:prSet presAssocID="{D1CDCA9A-AF60-EC4B-BA0A-DBC046D04EDC}" presName="quadrant2" presStyleLbl="node1" presStyleIdx="1" presStyleCnt="4">
        <dgm:presLayoutVars>
          <dgm:chMax val="1"/>
          <dgm:bulletEnabled val="1"/>
        </dgm:presLayoutVars>
      </dgm:prSet>
      <dgm:spPr/>
    </dgm:pt>
    <dgm:pt modelId="{38767113-2773-3143-879D-35DCD7B23677}" type="pres">
      <dgm:prSet presAssocID="{D1CDCA9A-AF60-EC4B-BA0A-DBC046D04EDC}" presName="quadrant3" presStyleLbl="node1" presStyleIdx="2" presStyleCnt="4">
        <dgm:presLayoutVars>
          <dgm:chMax val="1"/>
          <dgm:bulletEnabled val="1"/>
        </dgm:presLayoutVars>
      </dgm:prSet>
      <dgm:spPr/>
    </dgm:pt>
    <dgm:pt modelId="{D6AB0563-5AE6-DE40-8535-E3FE1930A64D}" type="pres">
      <dgm:prSet presAssocID="{D1CDCA9A-AF60-EC4B-BA0A-DBC046D04EDC}" presName="quadrant4" presStyleLbl="node1" presStyleIdx="3" presStyleCnt="4">
        <dgm:presLayoutVars>
          <dgm:chMax val="1"/>
          <dgm:bulletEnabled val="1"/>
        </dgm:presLayoutVars>
      </dgm:prSet>
      <dgm:spPr/>
    </dgm:pt>
    <dgm:pt modelId="{1A75B8D1-3889-C241-B9C1-328C7720E716}" type="pres">
      <dgm:prSet presAssocID="{D1CDCA9A-AF60-EC4B-BA0A-DBC046D04EDC}" presName="quadrantPlaceholder" presStyleCnt="0"/>
      <dgm:spPr/>
    </dgm:pt>
    <dgm:pt modelId="{81FBAD68-3BDE-DD48-88BC-5188912A4575}" type="pres">
      <dgm:prSet presAssocID="{D1CDCA9A-AF60-EC4B-BA0A-DBC046D04EDC}" presName="center1" presStyleLbl="fgShp" presStyleIdx="0" presStyleCnt="2"/>
      <dgm:spPr/>
    </dgm:pt>
    <dgm:pt modelId="{AB72B70E-33B8-3644-9371-3DA7B3FCB8E3}" type="pres">
      <dgm:prSet presAssocID="{D1CDCA9A-AF60-EC4B-BA0A-DBC046D04EDC}" presName="center2" presStyleLbl="fgShp" presStyleIdx="1" presStyleCnt="2"/>
      <dgm:spPr/>
    </dgm:pt>
  </dgm:ptLst>
  <dgm:cxnLst>
    <dgm:cxn modelId="{3502E20E-8FE4-8F45-8CAE-2193A12DD3EE}" type="presOf" srcId="{9B6AD322-5BF0-9E42-996B-52B5EED8439C}" destId="{B50B30A1-4B01-FE4A-8F56-56C1767A66E3}" srcOrd="0" destOrd="0" presId="urn:microsoft.com/office/officeart/2005/8/layout/cycle4"/>
    <dgm:cxn modelId="{9F3EC016-5A89-3C46-AEBA-AEC8DF997F1B}" type="presOf" srcId="{06D3F722-EAB4-2644-BFEB-364A60E13237}" destId="{33EEC64D-1B20-BC4C-89F0-24FE1488B0F3}" srcOrd="0" destOrd="0" presId="urn:microsoft.com/office/officeart/2005/8/layout/cycle4"/>
    <dgm:cxn modelId="{CA773A19-F721-5249-89C9-1D1C1D42FDC4}" srcId="{D1CDCA9A-AF60-EC4B-BA0A-DBC046D04EDC}" destId="{570D51F1-6F32-8D46-B691-72629BB41A0F}" srcOrd="2" destOrd="0" parTransId="{B4B46E51-FFED-6F46-870B-29FBF4F1B220}" sibTransId="{5D7D51E2-DBC1-4549-833F-19A65FA6CE5B}"/>
    <dgm:cxn modelId="{B756E827-128A-6342-9609-5B4C4E55CD53}" type="presOf" srcId="{8F8C495A-EC22-ED4C-A84F-8070926906E4}" destId="{7A646445-A75B-FF4A-9E19-31FA50E6A688}" srcOrd="1" destOrd="0" presId="urn:microsoft.com/office/officeart/2005/8/layout/cycle4"/>
    <dgm:cxn modelId="{3D291936-A794-CF44-B716-6473AF77F742}" srcId="{D1CDCA9A-AF60-EC4B-BA0A-DBC046D04EDC}" destId="{122D5269-4DF5-5D4D-A2BC-6F66FC01E99D}" srcOrd="1" destOrd="0" parTransId="{2466FF33-F333-D546-97AF-47E99D516918}" sibTransId="{A30365F0-7BEA-ED4D-B45F-AC5931BE3539}"/>
    <dgm:cxn modelId="{650FDC39-D029-C84B-BAB7-F96D7DC84508}" type="presOf" srcId="{D1CDCA9A-AF60-EC4B-BA0A-DBC046D04EDC}" destId="{619B15EA-75FA-114D-A0CD-08446A4335CD}" srcOrd="0" destOrd="0" presId="urn:microsoft.com/office/officeart/2005/8/layout/cycle4"/>
    <dgm:cxn modelId="{B547783C-E4DC-D846-9685-2D983D2D217E}" srcId="{570D51F1-6F32-8D46-B691-72629BB41A0F}" destId="{9B6AD322-5BF0-9E42-996B-52B5EED8439C}" srcOrd="0" destOrd="0" parTransId="{EC85CE69-5E11-0340-9972-5A8F835F5313}" sibTransId="{10F0B73B-2EE1-6B46-9C9A-F8CDDD46CBEA}"/>
    <dgm:cxn modelId="{A0BAD23F-1238-324E-B085-68B141E91F60}" type="presOf" srcId="{122D5269-4DF5-5D4D-A2BC-6F66FC01E99D}" destId="{9C5362BE-A274-1F4D-9109-E4937EE9B673}" srcOrd="0" destOrd="0" presId="urn:microsoft.com/office/officeart/2005/8/layout/cycle4"/>
    <dgm:cxn modelId="{EC3E455E-9DFB-4F4D-BBCC-A47AF508DC07}" srcId="{D1CDCA9A-AF60-EC4B-BA0A-DBC046D04EDC}" destId="{00C27A5C-B526-BB4F-8ED3-6E3082D10B18}" srcOrd="3" destOrd="0" parTransId="{633DE042-39F9-7646-9CF3-BD367603635C}" sibTransId="{E08BB136-FA38-FA49-A76D-D43AA1D13060}"/>
    <dgm:cxn modelId="{B3571161-B95A-CD42-83C8-3F31CD040A0A}" srcId="{D1CDCA9A-AF60-EC4B-BA0A-DBC046D04EDC}" destId="{06D3F722-EAB4-2644-BFEB-364A60E13237}" srcOrd="0" destOrd="0" parTransId="{BBE5C5E6-0376-EA49-A9B1-90DC64E9F34C}" sibTransId="{59A5A686-6407-CC4F-A297-9E2378D5A7E9}"/>
    <dgm:cxn modelId="{E8054B4B-CBDC-534D-9FB5-54D7A3BA3064}" type="presOf" srcId="{8F8C495A-EC22-ED4C-A84F-8070926906E4}" destId="{805C96EA-8834-E042-A5BC-110B5B6EF936}" srcOrd="0" destOrd="0" presId="urn:microsoft.com/office/officeart/2005/8/layout/cycle4"/>
    <dgm:cxn modelId="{9D8FA653-C562-3545-9F53-290CF2A2EC56}" srcId="{06D3F722-EAB4-2644-BFEB-364A60E13237}" destId="{1A610B2A-243E-F34E-9653-AD1628412744}" srcOrd="0" destOrd="0" parTransId="{87130CF1-5BEC-2144-B86A-E882D44BA93B}" sibTransId="{D61C0190-A0B7-614A-88B0-A83858A1B120}"/>
    <dgm:cxn modelId="{CAD3DB53-8F18-CE4A-849C-B635D4BD7AA7}" type="presOf" srcId="{1A610B2A-243E-F34E-9653-AD1628412744}" destId="{77E7E828-9D55-0E49-9D9E-8FB8DEF8C14E}" srcOrd="0" destOrd="0" presId="urn:microsoft.com/office/officeart/2005/8/layout/cycle4"/>
    <dgm:cxn modelId="{D590EC74-11B7-A64D-B947-4A4F799257BC}" type="presOf" srcId="{0CD58CF4-8850-AC4A-8D99-5C7FE267ECD8}" destId="{82795004-8186-4C44-8DF5-0C843B1E4A08}" srcOrd="0" destOrd="0" presId="urn:microsoft.com/office/officeart/2005/8/layout/cycle4"/>
    <dgm:cxn modelId="{36A5DA88-F2F7-B34E-9368-59DD0A6529DB}" type="presOf" srcId="{1A610B2A-243E-F34E-9653-AD1628412744}" destId="{3D0E29D4-5635-FC46-B9C8-95FB32C551D6}" srcOrd="1" destOrd="0" presId="urn:microsoft.com/office/officeart/2005/8/layout/cycle4"/>
    <dgm:cxn modelId="{F6983E92-481B-0043-A39F-FB3B2AF287AD}" type="presOf" srcId="{570D51F1-6F32-8D46-B691-72629BB41A0F}" destId="{38767113-2773-3143-879D-35DCD7B23677}" srcOrd="0" destOrd="0" presId="urn:microsoft.com/office/officeart/2005/8/layout/cycle4"/>
    <dgm:cxn modelId="{29E9B29E-BA59-1B4B-8306-EEAD482EE5A6}" srcId="{122D5269-4DF5-5D4D-A2BC-6F66FC01E99D}" destId="{8F8C495A-EC22-ED4C-A84F-8070926906E4}" srcOrd="0" destOrd="0" parTransId="{5054CEC4-C568-3441-AFDD-642418370E39}" sibTransId="{5D56E92C-B092-234C-BB02-1081DF63364C}"/>
    <dgm:cxn modelId="{A542B9B9-FF2D-6042-AD03-36CA5A52B2B1}" type="presOf" srcId="{00C27A5C-B526-BB4F-8ED3-6E3082D10B18}" destId="{D6AB0563-5AE6-DE40-8535-E3FE1930A64D}" srcOrd="0" destOrd="0" presId="urn:microsoft.com/office/officeart/2005/8/layout/cycle4"/>
    <dgm:cxn modelId="{A9C1C4DF-3EF4-7B4A-8DC3-AA21F793DF81}" type="presOf" srcId="{9B6AD322-5BF0-9E42-996B-52B5EED8439C}" destId="{1094CA44-569D-F74D-89D9-785242F42E63}" srcOrd="1" destOrd="0" presId="urn:microsoft.com/office/officeart/2005/8/layout/cycle4"/>
    <dgm:cxn modelId="{A79B67F3-78A7-2B47-AD34-AF4EACD6A233}" srcId="{00C27A5C-B526-BB4F-8ED3-6E3082D10B18}" destId="{0CD58CF4-8850-AC4A-8D99-5C7FE267ECD8}" srcOrd="0" destOrd="0" parTransId="{BFC5A6F7-D7B0-CB41-8872-9770A2C6D48C}" sibTransId="{BD639A0F-6365-7F44-A176-C677C39EE631}"/>
    <dgm:cxn modelId="{8FD6A1F8-DD7B-6048-95BA-CAE08ED5226F}" type="presOf" srcId="{0CD58CF4-8850-AC4A-8D99-5C7FE267ECD8}" destId="{ACD5E097-7FA2-3D45-AB61-35B0C1FEBD00}" srcOrd="1" destOrd="0" presId="urn:microsoft.com/office/officeart/2005/8/layout/cycle4"/>
    <dgm:cxn modelId="{54356F3A-A4B7-D744-88C8-118A2C24D59E}" type="presParOf" srcId="{619B15EA-75FA-114D-A0CD-08446A4335CD}" destId="{D836C0E8-9050-F448-BFE1-D26CA563AFF3}" srcOrd="0" destOrd="0" presId="urn:microsoft.com/office/officeart/2005/8/layout/cycle4"/>
    <dgm:cxn modelId="{E454D171-6AE4-F54C-A500-6F428CAA19A6}" type="presParOf" srcId="{D836C0E8-9050-F448-BFE1-D26CA563AFF3}" destId="{7234673A-E3FA-D44E-9DFE-469B98FB1C8E}" srcOrd="0" destOrd="0" presId="urn:microsoft.com/office/officeart/2005/8/layout/cycle4"/>
    <dgm:cxn modelId="{424CED9B-9683-7D4A-BC64-8CB1BA46AABC}" type="presParOf" srcId="{7234673A-E3FA-D44E-9DFE-469B98FB1C8E}" destId="{77E7E828-9D55-0E49-9D9E-8FB8DEF8C14E}" srcOrd="0" destOrd="0" presId="urn:microsoft.com/office/officeart/2005/8/layout/cycle4"/>
    <dgm:cxn modelId="{59622B64-0029-2A4A-90FA-8596F1BC49FF}" type="presParOf" srcId="{7234673A-E3FA-D44E-9DFE-469B98FB1C8E}" destId="{3D0E29D4-5635-FC46-B9C8-95FB32C551D6}" srcOrd="1" destOrd="0" presId="urn:microsoft.com/office/officeart/2005/8/layout/cycle4"/>
    <dgm:cxn modelId="{CCB1A34F-F4AF-8140-B1F8-73EB55AC75EF}" type="presParOf" srcId="{D836C0E8-9050-F448-BFE1-D26CA563AFF3}" destId="{872F2AC4-BCA5-124B-9445-4BF5EDA87A70}" srcOrd="1" destOrd="0" presId="urn:microsoft.com/office/officeart/2005/8/layout/cycle4"/>
    <dgm:cxn modelId="{B43475C8-7B01-A54E-971D-821AB181B937}" type="presParOf" srcId="{872F2AC4-BCA5-124B-9445-4BF5EDA87A70}" destId="{805C96EA-8834-E042-A5BC-110B5B6EF936}" srcOrd="0" destOrd="0" presId="urn:microsoft.com/office/officeart/2005/8/layout/cycle4"/>
    <dgm:cxn modelId="{51976A6E-B807-AC49-9854-4E2B029564E3}" type="presParOf" srcId="{872F2AC4-BCA5-124B-9445-4BF5EDA87A70}" destId="{7A646445-A75B-FF4A-9E19-31FA50E6A688}" srcOrd="1" destOrd="0" presId="urn:microsoft.com/office/officeart/2005/8/layout/cycle4"/>
    <dgm:cxn modelId="{0815AF8F-6B71-BC46-85A1-35B096808CA2}" type="presParOf" srcId="{D836C0E8-9050-F448-BFE1-D26CA563AFF3}" destId="{389123AA-1FF9-6642-BA71-F3915A3D84C4}" srcOrd="2" destOrd="0" presId="urn:microsoft.com/office/officeart/2005/8/layout/cycle4"/>
    <dgm:cxn modelId="{037F1287-D118-6D41-87DD-9F0F2598DF08}" type="presParOf" srcId="{389123AA-1FF9-6642-BA71-F3915A3D84C4}" destId="{B50B30A1-4B01-FE4A-8F56-56C1767A66E3}" srcOrd="0" destOrd="0" presId="urn:microsoft.com/office/officeart/2005/8/layout/cycle4"/>
    <dgm:cxn modelId="{F8EBFFF4-3074-7745-A6DE-40DB9F656DA1}" type="presParOf" srcId="{389123AA-1FF9-6642-BA71-F3915A3D84C4}" destId="{1094CA44-569D-F74D-89D9-785242F42E63}" srcOrd="1" destOrd="0" presId="urn:microsoft.com/office/officeart/2005/8/layout/cycle4"/>
    <dgm:cxn modelId="{87E89805-628E-2640-BACB-FBA6BDDAD1E1}" type="presParOf" srcId="{D836C0E8-9050-F448-BFE1-D26CA563AFF3}" destId="{6C5C143C-811C-DF46-A294-728B004BFE46}" srcOrd="3" destOrd="0" presId="urn:microsoft.com/office/officeart/2005/8/layout/cycle4"/>
    <dgm:cxn modelId="{D8B7F9E7-77ED-F049-B9D7-F903226DB62A}" type="presParOf" srcId="{6C5C143C-811C-DF46-A294-728B004BFE46}" destId="{82795004-8186-4C44-8DF5-0C843B1E4A08}" srcOrd="0" destOrd="0" presId="urn:microsoft.com/office/officeart/2005/8/layout/cycle4"/>
    <dgm:cxn modelId="{27C05687-FA1A-A748-AA54-A20F61869794}" type="presParOf" srcId="{6C5C143C-811C-DF46-A294-728B004BFE46}" destId="{ACD5E097-7FA2-3D45-AB61-35B0C1FEBD00}" srcOrd="1" destOrd="0" presId="urn:microsoft.com/office/officeart/2005/8/layout/cycle4"/>
    <dgm:cxn modelId="{B770BD12-9A04-6846-9946-4F23D7032F39}" type="presParOf" srcId="{D836C0E8-9050-F448-BFE1-D26CA563AFF3}" destId="{76A01ECE-C918-0F4D-8583-68385E17FA45}" srcOrd="4" destOrd="0" presId="urn:microsoft.com/office/officeart/2005/8/layout/cycle4"/>
    <dgm:cxn modelId="{62E26FC4-147C-9D49-8E51-8C4845123E77}" type="presParOf" srcId="{619B15EA-75FA-114D-A0CD-08446A4335CD}" destId="{A19F55D9-F0F0-7A45-8AB2-DAD91AD8989E}" srcOrd="1" destOrd="0" presId="urn:microsoft.com/office/officeart/2005/8/layout/cycle4"/>
    <dgm:cxn modelId="{53A8E3A4-6E30-6D4B-9668-ADFF6ADBAE6D}" type="presParOf" srcId="{A19F55D9-F0F0-7A45-8AB2-DAD91AD8989E}" destId="{33EEC64D-1B20-BC4C-89F0-24FE1488B0F3}" srcOrd="0" destOrd="0" presId="urn:microsoft.com/office/officeart/2005/8/layout/cycle4"/>
    <dgm:cxn modelId="{E5015558-AF28-8745-89B2-B5989860B395}" type="presParOf" srcId="{A19F55D9-F0F0-7A45-8AB2-DAD91AD8989E}" destId="{9C5362BE-A274-1F4D-9109-E4937EE9B673}" srcOrd="1" destOrd="0" presId="urn:microsoft.com/office/officeart/2005/8/layout/cycle4"/>
    <dgm:cxn modelId="{9CFEF036-BC30-0042-9151-7B0DF420524E}" type="presParOf" srcId="{A19F55D9-F0F0-7A45-8AB2-DAD91AD8989E}" destId="{38767113-2773-3143-879D-35DCD7B23677}" srcOrd="2" destOrd="0" presId="urn:microsoft.com/office/officeart/2005/8/layout/cycle4"/>
    <dgm:cxn modelId="{D0BDE5B9-645A-2E48-A190-A221CA222E4D}" type="presParOf" srcId="{A19F55D9-F0F0-7A45-8AB2-DAD91AD8989E}" destId="{D6AB0563-5AE6-DE40-8535-E3FE1930A64D}" srcOrd="3" destOrd="0" presId="urn:microsoft.com/office/officeart/2005/8/layout/cycle4"/>
    <dgm:cxn modelId="{00EABBAE-2AE2-8346-9AFE-049B817F8EE3}" type="presParOf" srcId="{A19F55D9-F0F0-7A45-8AB2-DAD91AD8989E}" destId="{1A75B8D1-3889-C241-B9C1-328C7720E716}" srcOrd="4" destOrd="0" presId="urn:microsoft.com/office/officeart/2005/8/layout/cycle4"/>
    <dgm:cxn modelId="{E44BDF35-758D-2D42-8824-4BBB60422A15}" type="presParOf" srcId="{619B15EA-75FA-114D-A0CD-08446A4335CD}" destId="{81FBAD68-3BDE-DD48-88BC-5188912A4575}" srcOrd="2" destOrd="0" presId="urn:microsoft.com/office/officeart/2005/8/layout/cycle4"/>
    <dgm:cxn modelId="{399C698E-9820-004D-829D-68D380DC28AF}" type="presParOf" srcId="{619B15EA-75FA-114D-A0CD-08446A4335CD}" destId="{AB72B70E-33B8-3644-9371-3DA7B3FCB8E3}" srcOrd="3" destOrd="0" presId="urn:microsoft.com/office/officeart/2005/8/layout/cycle4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50B30A1-4B01-FE4A-8F56-56C1767A66E3}">
      <dsp:nvSpPr>
        <dsp:cNvPr id="0" name=""/>
        <dsp:cNvSpPr/>
      </dsp:nvSpPr>
      <dsp:spPr>
        <a:xfrm>
          <a:off x="3781951" y="3084012"/>
          <a:ext cx="3681478" cy="238136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b-NO" sz="1600" kern="1200"/>
        </a:p>
      </dsp:txBody>
      <dsp:txXfrm>
        <a:off x="4938706" y="3731665"/>
        <a:ext cx="2472413" cy="1681404"/>
      </dsp:txXfrm>
    </dsp:sp>
    <dsp:sp modelId="{82795004-8186-4C44-8DF5-0C843B1E4A08}">
      <dsp:nvSpPr>
        <dsp:cNvPr id="0" name=""/>
        <dsp:cNvSpPr/>
      </dsp:nvSpPr>
      <dsp:spPr>
        <a:xfrm>
          <a:off x="-239487" y="3053058"/>
          <a:ext cx="3579618" cy="244327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b-NO" sz="1600" kern="1200"/>
        </a:p>
      </dsp:txBody>
      <dsp:txXfrm>
        <a:off x="-185816" y="3717548"/>
        <a:ext cx="2398390" cy="1725115"/>
      </dsp:txXfrm>
    </dsp:sp>
    <dsp:sp modelId="{805C96EA-8834-E042-A5BC-110B5B6EF936}">
      <dsp:nvSpPr>
        <dsp:cNvPr id="0" name=""/>
        <dsp:cNvSpPr/>
      </dsp:nvSpPr>
      <dsp:spPr>
        <a:xfrm>
          <a:off x="3747769" y="-388791"/>
          <a:ext cx="3601682" cy="25247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tx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b-NO" sz="1600" kern="1200"/>
        </a:p>
      </dsp:txBody>
      <dsp:txXfrm>
        <a:off x="4883734" y="-333331"/>
        <a:ext cx="2410257" cy="1782616"/>
      </dsp:txXfrm>
    </dsp:sp>
    <dsp:sp modelId="{77E7E828-9D55-0E49-9D9E-8FB8DEF8C14E}">
      <dsp:nvSpPr>
        <dsp:cNvPr id="0" name=""/>
        <dsp:cNvSpPr/>
      </dsp:nvSpPr>
      <dsp:spPr>
        <a:xfrm>
          <a:off x="-231014" y="-391563"/>
          <a:ext cx="3617532" cy="246102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b-NO" sz="1600" kern="1200"/>
        </a:p>
      </dsp:txBody>
      <dsp:txXfrm>
        <a:off x="-176953" y="-337502"/>
        <a:ext cx="2424150" cy="1737649"/>
      </dsp:txXfrm>
    </dsp:sp>
    <dsp:sp modelId="{33EEC64D-1B20-BC4C-89F0-24FE1488B0F3}">
      <dsp:nvSpPr>
        <dsp:cNvPr id="0" name=""/>
        <dsp:cNvSpPr/>
      </dsp:nvSpPr>
      <dsp:spPr>
        <a:xfrm>
          <a:off x="1364205" y="298176"/>
          <a:ext cx="2187762" cy="2187762"/>
        </a:xfrm>
        <a:prstGeom prst="pieWedge">
          <a:avLst/>
        </a:prstGeom>
        <a:solidFill>
          <a:schemeClr val="accent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000" b="1" kern="1200"/>
            <a:t>Bruker</a:t>
          </a:r>
          <a:endParaRPr lang="nb-NO" sz="1600" b="1" kern="1200"/>
        </a:p>
      </dsp:txBody>
      <dsp:txXfrm>
        <a:off x="2004986" y="938957"/>
        <a:ext cx="1546981" cy="1546981"/>
      </dsp:txXfrm>
    </dsp:sp>
    <dsp:sp modelId="{9C5362BE-A274-1F4D-9109-E4937EE9B673}">
      <dsp:nvSpPr>
        <dsp:cNvPr id="0" name=""/>
        <dsp:cNvSpPr/>
      </dsp:nvSpPr>
      <dsp:spPr>
        <a:xfrm rot="5400000">
          <a:off x="3653018" y="298176"/>
          <a:ext cx="2187762" cy="2187762"/>
        </a:xfrm>
        <a:prstGeom prst="pieWedge">
          <a:avLst/>
        </a:prstGeom>
        <a:solidFill>
          <a:schemeClr val="tx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000" b="1" kern="1200"/>
            <a:t>Pårørende</a:t>
          </a:r>
          <a:endParaRPr lang="nb-NO" sz="1600" b="1" kern="1200"/>
        </a:p>
      </dsp:txBody>
      <dsp:txXfrm rot="-5400000">
        <a:off x="3653018" y="938957"/>
        <a:ext cx="1546981" cy="1546981"/>
      </dsp:txXfrm>
    </dsp:sp>
    <dsp:sp modelId="{38767113-2773-3143-879D-35DCD7B23677}">
      <dsp:nvSpPr>
        <dsp:cNvPr id="0" name=""/>
        <dsp:cNvSpPr/>
      </dsp:nvSpPr>
      <dsp:spPr>
        <a:xfrm rot="10800000">
          <a:off x="3653018" y="2586989"/>
          <a:ext cx="2187762" cy="2187762"/>
        </a:xfrm>
        <a:prstGeom prst="pieWedge">
          <a:avLst/>
        </a:prstGeom>
        <a:solidFill>
          <a:schemeClr val="accent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000" b="1" kern="1200"/>
            <a:t>Helse-personell</a:t>
          </a:r>
          <a:endParaRPr lang="nb-NO" sz="1700" b="1" kern="1200"/>
        </a:p>
      </dsp:txBody>
      <dsp:txXfrm rot="10800000">
        <a:off x="3653018" y="2586989"/>
        <a:ext cx="1546981" cy="1546981"/>
      </dsp:txXfrm>
    </dsp:sp>
    <dsp:sp modelId="{D6AB0563-5AE6-DE40-8535-E3FE1930A64D}">
      <dsp:nvSpPr>
        <dsp:cNvPr id="0" name=""/>
        <dsp:cNvSpPr/>
      </dsp:nvSpPr>
      <dsp:spPr>
        <a:xfrm rot="16200000">
          <a:off x="1364205" y="2586989"/>
          <a:ext cx="2187762" cy="2187762"/>
        </a:xfrm>
        <a:prstGeom prst="pieWedge">
          <a:avLst/>
        </a:prstGeom>
        <a:solidFill>
          <a:schemeClr val="accent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000" b="1" kern="1200"/>
            <a:t>Økonomi</a:t>
          </a:r>
          <a:endParaRPr lang="nb-NO" sz="2000" kern="1200"/>
        </a:p>
      </dsp:txBody>
      <dsp:txXfrm rot="5400000">
        <a:off x="2004986" y="2586989"/>
        <a:ext cx="1546981" cy="1546981"/>
      </dsp:txXfrm>
    </dsp:sp>
    <dsp:sp modelId="{81FBAD68-3BDE-DD48-88BC-5188912A4575}">
      <dsp:nvSpPr>
        <dsp:cNvPr id="0" name=""/>
        <dsp:cNvSpPr/>
      </dsp:nvSpPr>
      <dsp:spPr>
        <a:xfrm>
          <a:off x="3224813" y="2081732"/>
          <a:ext cx="755358" cy="656833"/>
        </a:xfrm>
        <a:prstGeom prst="circularArrow">
          <a:avLst/>
        </a:prstGeom>
        <a:solidFill>
          <a:schemeClr val="accent4"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B72B70E-33B8-3644-9371-3DA7B3FCB8E3}">
      <dsp:nvSpPr>
        <dsp:cNvPr id="0" name=""/>
        <dsp:cNvSpPr/>
      </dsp:nvSpPr>
      <dsp:spPr>
        <a:xfrm rot="10800000">
          <a:off x="3224813" y="2334361"/>
          <a:ext cx="755358" cy="656833"/>
        </a:xfrm>
        <a:prstGeom prst="circularArrow">
          <a:avLst/>
        </a:prstGeom>
        <a:solidFill>
          <a:schemeClr val="accent4"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D8EA0E-C0D3-C94A-9966-65114DBB0BE9}" type="datetimeFigureOut">
              <a:rPr lang="nb-NO" smtClean="0"/>
              <a:t>22.01.2025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52E268D-C292-2B4A-88A5-8BFFE000BDF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016969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&amp; undertitte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C7BF594-6122-A241-B1C9-2CDE6B8B6EE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8200" y="2226762"/>
            <a:ext cx="6318871" cy="1608795"/>
          </a:xfrm>
        </p:spPr>
        <p:txBody>
          <a:bodyPr anchor="b" anchorCtr="0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</a:t>
            </a:r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9B80825F-FD71-8D43-902B-E41AF655E9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9706826" y="1636295"/>
            <a:ext cx="4008967" cy="4433446"/>
          </a:xfrm>
          <a:prstGeom prst="rect">
            <a:avLst/>
          </a:prstGeom>
        </p:spPr>
      </p:pic>
      <p:pic>
        <p:nvPicPr>
          <p:cNvPr id="11" name="Bilde 10">
            <a:extLst>
              <a:ext uri="{FF2B5EF4-FFF2-40B4-BE49-F238E27FC236}">
                <a16:creationId xmlns:a16="http://schemas.microsoft.com/office/drawing/2014/main" id="{E9642F2B-CEBF-D146-82AF-68221D831DB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05421" y="384345"/>
            <a:ext cx="1351150" cy="351299"/>
          </a:xfrm>
          <a:prstGeom prst="rect">
            <a:avLst/>
          </a:prstGeom>
        </p:spPr>
      </p:pic>
      <p:sp>
        <p:nvSpPr>
          <p:cNvPr id="5" name="Plassholder for innhold 2">
            <a:extLst>
              <a:ext uri="{FF2B5EF4-FFF2-40B4-BE49-F238E27FC236}">
                <a16:creationId xmlns:a16="http://schemas.microsoft.com/office/drawing/2014/main" id="{DE2F48D3-146F-454A-8FEF-68DBEC1E524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3946472"/>
            <a:ext cx="5718048" cy="365126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Navn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0F79A3C3-8DAA-4042-A1C2-984C78BFA00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838200" y="4422513"/>
            <a:ext cx="2489616" cy="365126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nb-NO"/>
              <a:t>5. november 2018</a:t>
            </a:r>
          </a:p>
        </p:txBody>
      </p:sp>
      <p:pic>
        <p:nvPicPr>
          <p:cNvPr id="8" name="Bilde 7" descr="Et bilde som inneholder tegning&#10;&#10;Automatisk generert beskrivelse">
            <a:extLst>
              <a:ext uri="{FF2B5EF4-FFF2-40B4-BE49-F238E27FC236}">
                <a16:creationId xmlns:a16="http://schemas.microsoft.com/office/drawing/2014/main" id="{D25109AE-60B8-4DD1-9E8B-06B040BA5F2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35429" y="384345"/>
            <a:ext cx="1144801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8686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uten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288BC62-E531-1B42-81C2-5AC5073245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832498"/>
            <a:ext cx="8314944" cy="594665"/>
          </a:xfrm>
          <a:ln>
            <a:noFill/>
          </a:ln>
        </p:spPr>
        <p:txBody>
          <a:bodyPr anchor="b" anchorCtr="0"/>
          <a:lstStyle>
            <a:lvl1pPr>
              <a:defRPr lang="nb-NO" dirty="0"/>
            </a:lvl1pPr>
          </a:lstStyle>
          <a:p>
            <a:r>
              <a:rPr lang="nb-NO"/>
              <a:t>Klikk for å redigere tittel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A444A815-048E-634D-9DF2-9BC9236B9E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05421" y="384345"/>
            <a:ext cx="1351150" cy="351299"/>
          </a:xfrm>
          <a:prstGeom prst="rect">
            <a:avLst/>
          </a:prstGeom>
        </p:spPr>
      </p:pic>
      <p:pic>
        <p:nvPicPr>
          <p:cNvPr id="8" name="Bilde 7">
            <a:extLst>
              <a:ext uri="{FF2B5EF4-FFF2-40B4-BE49-F238E27FC236}">
                <a16:creationId xmlns:a16="http://schemas.microsoft.com/office/drawing/2014/main" id="{85F789B1-04DD-9F45-A566-B7EBC954085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 flipH="1">
            <a:off x="9706826" y="1636295"/>
            <a:ext cx="4008967" cy="4433445"/>
          </a:xfrm>
          <a:prstGeom prst="rect">
            <a:avLst/>
          </a:prstGeom>
        </p:spPr>
      </p:pic>
      <p:sp>
        <p:nvSpPr>
          <p:cNvPr id="6" name="TextBox 8">
            <a:extLst>
              <a:ext uri="{FF2B5EF4-FFF2-40B4-BE49-F238E27FC236}">
                <a16:creationId xmlns:a16="http://schemas.microsoft.com/office/drawing/2014/main" id="{83E0CB91-E34E-47F6-A1CC-C836EBBC9F14}"/>
              </a:ext>
            </a:extLst>
          </p:cNvPr>
          <p:cNvSpPr txBox="1"/>
          <p:nvPr userDrawn="1"/>
        </p:nvSpPr>
        <p:spPr>
          <a:xfrm>
            <a:off x="0" y="6588088"/>
            <a:ext cx="12192000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pt" sz="800">
                <a:solidFill>
                  <a:srgbClr val="1D2242"/>
                </a:solidFill>
              </a:rPr>
              <a:t>© </a:t>
            </a:r>
            <a:r>
              <a:rPr lang="nb-NO" sz="800">
                <a:solidFill>
                  <a:srgbClr val="1D2242"/>
                </a:solidFill>
              </a:rPr>
              <a:t>Sensio AS</a:t>
            </a:r>
            <a:r>
              <a:rPr lang="pt" sz="800">
                <a:solidFill>
                  <a:srgbClr val="1D2242"/>
                </a:solidFill>
              </a:rPr>
              <a:t> 2024</a:t>
            </a:r>
            <a:endParaRPr lang="nb-NO" sz="800">
              <a:solidFill>
                <a:srgbClr val="1D2242"/>
              </a:solidFill>
            </a:endParaRPr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AD8346E9-AF92-4856-AEF1-01374AB2BED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35429" y="378904"/>
            <a:ext cx="1144801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96981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 uten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288BC62-E531-1B42-81C2-5AC5073245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832498"/>
            <a:ext cx="8314944" cy="594665"/>
          </a:xfrm>
          <a:ln>
            <a:noFill/>
          </a:ln>
        </p:spPr>
        <p:txBody>
          <a:bodyPr anchor="b" anchorCtr="0"/>
          <a:lstStyle>
            <a:lvl1pPr>
              <a:defRPr lang="nb-NO" dirty="0"/>
            </a:lvl1pPr>
          </a:lstStyle>
          <a:p>
            <a:r>
              <a:rPr lang="nb-NO"/>
              <a:t>Klikk for å redigere tittel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A444A815-048E-634D-9DF2-9BC9236B9E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05421" y="384345"/>
            <a:ext cx="1351150" cy="351299"/>
          </a:xfrm>
          <a:prstGeom prst="rect">
            <a:avLst/>
          </a:prstGeom>
        </p:spPr>
      </p:pic>
      <p:sp>
        <p:nvSpPr>
          <p:cNvPr id="5" name="TextBox 8">
            <a:extLst>
              <a:ext uri="{FF2B5EF4-FFF2-40B4-BE49-F238E27FC236}">
                <a16:creationId xmlns:a16="http://schemas.microsoft.com/office/drawing/2014/main" id="{DE0C2514-98A3-452A-ADA3-A7892BBC9B10}"/>
              </a:ext>
            </a:extLst>
          </p:cNvPr>
          <p:cNvSpPr txBox="1"/>
          <p:nvPr userDrawn="1"/>
        </p:nvSpPr>
        <p:spPr>
          <a:xfrm>
            <a:off x="0" y="6588088"/>
            <a:ext cx="12192000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pt" sz="800">
                <a:solidFill>
                  <a:srgbClr val="1D2242"/>
                </a:solidFill>
              </a:rPr>
              <a:t>© </a:t>
            </a:r>
            <a:r>
              <a:rPr lang="nb-NO" sz="800">
                <a:solidFill>
                  <a:srgbClr val="1D2242"/>
                </a:solidFill>
              </a:rPr>
              <a:t>Sensio AS</a:t>
            </a:r>
            <a:r>
              <a:rPr lang="pt" sz="800">
                <a:solidFill>
                  <a:srgbClr val="1D2242"/>
                </a:solidFill>
              </a:rPr>
              <a:t> 2024</a:t>
            </a:r>
            <a:endParaRPr lang="nb-NO" sz="800">
              <a:solidFill>
                <a:srgbClr val="1D2242"/>
              </a:solidFill>
            </a:endParaRPr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79B2CA49-0F03-405A-AD43-048AD2A062E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5429" y="384345"/>
            <a:ext cx="1144801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78523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82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m mø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E9642F2B-CEBF-D146-82AF-68221D831DB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05421" y="384345"/>
            <a:ext cx="1351150" cy="351299"/>
          </a:xfrm>
          <a:prstGeom prst="rect">
            <a:avLst/>
          </a:prstGeom>
        </p:spPr>
      </p:pic>
      <p:sp>
        <p:nvSpPr>
          <p:cNvPr id="3" name="Tittel 1">
            <a:extLst>
              <a:ext uri="{FF2B5EF4-FFF2-40B4-BE49-F238E27FC236}">
                <a16:creationId xmlns:a16="http://schemas.microsoft.com/office/drawing/2014/main" id="{D9E86B2B-FDD9-EF4D-8E33-2242CD74BE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832498"/>
            <a:ext cx="8314944" cy="594665"/>
          </a:xfrm>
          <a:ln>
            <a:noFill/>
          </a:ln>
        </p:spPr>
        <p:txBody>
          <a:bodyPr anchor="b" anchorCtr="0"/>
          <a:lstStyle>
            <a:lvl1pPr>
              <a:defRPr lang="nb-NO" dirty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</a:t>
            </a:r>
          </a:p>
        </p:txBody>
      </p:sp>
      <p:sp>
        <p:nvSpPr>
          <p:cNvPr id="5" name="TextBox 8">
            <a:extLst>
              <a:ext uri="{FF2B5EF4-FFF2-40B4-BE49-F238E27FC236}">
                <a16:creationId xmlns:a16="http://schemas.microsoft.com/office/drawing/2014/main" id="{18A9F7A2-9944-42F5-883A-6C8581DFFF0E}"/>
              </a:ext>
            </a:extLst>
          </p:cNvPr>
          <p:cNvSpPr txBox="1"/>
          <p:nvPr userDrawn="1"/>
        </p:nvSpPr>
        <p:spPr>
          <a:xfrm>
            <a:off x="0" y="6588088"/>
            <a:ext cx="12192000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pt" sz="800">
                <a:solidFill>
                  <a:schemeClr val="bg1"/>
                </a:solidFill>
              </a:rPr>
              <a:t>© </a:t>
            </a:r>
            <a:r>
              <a:rPr lang="nb-NO" sz="800">
                <a:solidFill>
                  <a:schemeClr val="bg1"/>
                </a:solidFill>
              </a:rPr>
              <a:t>Sensio AS</a:t>
            </a:r>
            <a:r>
              <a:rPr lang="pt" sz="800">
                <a:solidFill>
                  <a:schemeClr val="bg1"/>
                </a:solidFill>
              </a:rPr>
              <a:t> 2024</a:t>
            </a:r>
            <a:endParaRPr lang="nb-NO" sz="800">
              <a:solidFill>
                <a:schemeClr val="bg1"/>
              </a:solidFill>
            </a:endParaRPr>
          </a:p>
        </p:txBody>
      </p:sp>
      <p:pic>
        <p:nvPicPr>
          <p:cNvPr id="6" name="Bilde 5" descr="Et bilde som inneholder tegning&#10;&#10;Automatisk generert beskrivelse">
            <a:extLst>
              <a:ext uri="{FF2B5EF4-FFF2-40B4-BE49-F238E27FC236}">
                <a16:creationId xmlns:a16="http://schemas.microsoft.com/office/drawing/2014/main" id="{721279C1-5491-40E6-9CA0-5644E3E7BDF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5429" y="384345"/>
            <a:ext cx="1144801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38695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og tekst mø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E9642F2B-CEBF-D146-82AF-68221D831DB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34944" y="417740"/>
            <a:ext cx="1351150" cy="351299"/>
          </a:xfrm>
          <a:prstGeom prst="rect">
            <a:avLst/>
          </a:prstGeom>
        </p:spPr>
      </p:pic>
      <p:sp>
        <p:nvSpPr>
          <p:cNvPr id="10" name="Plassholder for bilde 3">
            <a:extLst>
              <a:ext uri="{FF2B5EF4-FFF2-40B4-BE49-F238E27FC236}">
                <a16:creationId xmlns:a16="http://schemas.microsoft.com/office/drawing/2014/main" id="{A8269EFD-8FB0-3948-A2FF-C60630AE27C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0"/>
            <a:ext cx="6096000" cy="6858000"/>
          </a:xfrm>
          <a:solidFill>
            <a:schemeClr val="bg1">
              <a:lumMod val="85000"/>
            </a:schemeClr>
          </a:solidFill>
        </p:spPr>
        <p:txBody>
          <a:bodyPr lIns="1440000" tIns="46800" rIns="1440000" anchor="ctr" anchorCtr="0"/>
          <a:lstStyle>
            <a:lvl1pPr marL="0" indent="0" algn="ctr">
              <a:buNone/>
              <a:defRPr/>
            </a:lvl1pPr>
          </a:lstStyle>
          <a:p>
            <a:r>
              <a:rPr lang="nb-NO"/>
              <a:t>Dobbelt klikk for </a:t>
            </a:r>
          </a:p>
          <a:p>
            <a:endParaRPr lang="nb-NO"/>
          </a:p>
          <a:p>
            <a:r>
              <a:rPr lang="nb-NO"/>
              <a:t>å legge inn bilde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981AD947-7098-E34D-BC7E-16B78E76C1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3089324"/>
            <a:ext cx="4828082" cy="3175286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44280054-65A5-DF43-AD07-CCA6EE6C36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257261"/>
            <a:ext cx="4828082" cy="594665"/>
          </a:xfrm>
          <a:ln>
            <a:noFill/>
          </a:ln>
        </p:spPr>
        <p:txBody>
          <a:bodyPr anchor="b" anchorCtr="0"/>
          <a:lstStyle>
            <a:lvl1pPr>
              <a:defRPr lang="nb-NO" dirty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C005593-3683-44C9-BC69-0A599979D0F8}"/>
              </a:ext>
            </a:extLst>
          </p:cNvPr>
          <p:cNvSpPr txBox="1"/>
          <p:nvPr userDrawn="1"/>
        </p:nvSpPr>
        <p:spPr>
          <a:xfrm>
            <a:off x="0" y="6588088"/>
            <a:ext cx="6096000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pt" sz="800">
                <a:solidFill>
                  <a:schemeClr val="bg1"/>
                </a:solidFill>
              </a:rPr>
              <a:t>© </a:t>
            </a:r>
            <a:r>
              <a:rPr lang="nb-NO" sz="800">
                <a:solidFill>
                  <a:schemeClr val="bg1"/>
                </a:solidFill>
              </a:rPr>
              <a:t>Sensio AS</a:t>
            </a:r>
            <a:r>
              <a:rPr lang="pt" sz="800">
                <a:solidFill>
                  <a:schemeClr val="bg1"/>
                </a:solidFill>
              </a:rPr>
              <a:t> 2024</a:t>
            </a:r>
            <a:endParaRPr lang="nb-NO" sz="800">
              <a:solidFill>
                <a:schemeClr val="bg1"/>
              </a:solidFill>
            </a:endParaRP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B104CCB7-8735-4ECD-917F-A58EB430B39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612255" y="416790"/>
            <a:ext cx="1144801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64963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e og tekst mø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E9642F2B-CEBF-D146-82AF-68221D831DB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05421" y="384345"/>
            <a:ext cx="1351150" cy="351299"/>
          </a:xfrm>
          <a:prstGeom prst="rect">
            <a:avLst/>
          </a:prstGeom>
        </p:spPr>
      </p:pic>
      <p:sp>
        <p:nvSpPr>
          <p:cNvPr id="10" name="Plassholder for bilde 3">
            <a:extLst>
              <a:ext uri="{FF2B5EF4-FFF2-40B4-BE49-F238E27FC236}">
                <a16:creationId xmlns:a16="http://schemas.microsoft.com/office/drawing/2014/main" id="{A8269EFD-8FB0-3948-A2FF-C60630AE27C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6000" cy="6858000"/>
          </a:xfrm>
          <a:solidFill>
            <a:schemeClr val="bg1">
              <a:lumMod val="85000"/>
            </a:schemeClr>
          </a:solidFill>
        </p:spPr>
        <p:txBody>
          <a:bodyPr lIns="1440000" tIns="46800" rIns="1440000" anchor="ctr" anchorCtr="0"/>
          <a:lstStyle>
            <a:lvl1pPr marL="0" indent="0" algn="ctr">
              <a:buNone/>
              <a:defRPr/>
            </a:lvl1pPr>
          </a:lstStyle>
          <a:p>
            <a:r>
              <a:rPr lang="nb-NO"/>
              <a:t>Dobbelt klikk for </a:t>
            </a:r>
          </a:p>
          <a:p>
            <a:endParaRPr lang="nb-NO"/>
          </a:p>
          <a:p>
            <a:r>
              <a:rPr lang="nb-NO"/>
              <a:t>å legge inn bilde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981AD947-7098-E34D-BC7E-16B78E76C1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73253" y="3089324"/>
            <a:ext cx="4828082" cy="3175286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44280054-65A5-DF43-AD07-CCA6EE6C36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73253" y="2257261"/>
            <a:ext cx="4828082" cy="594665"/>
          </a:xfrm>
          <a:ln>
            <a:noFill/>
          </a:ln>
        </p:spPr>
        <p:txBody>
          <a:bodyPr anchor="b" anchorCtr="0"/>
          <a:lstStyle>
            <a:lvl1pPr>
              <a:defRPr lang="nb-NO" dirty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</a:t>
            </a:r>
          </a:p>
        </p:txBody>
      </p:sp>
      <p:sp>
        <p:nvSpPr>
          <p:cNvPr id="12" name="TextBox 8">
            <a:extLst>
              <a:ext uri="{FF2B5EF4-FFF2-40B4-BE49-F238E27FC236}">
                <a16:creationId xmlns:a16="http://schemas.microsoft.com/office/drawing/2014/main" id="{B3F10E66-8931-4D4F-BE8E-360C42910193}"/>
              </a:ext>
            </a:extLst>
          </p:cNvPr>
          <p:cNvSpPr txBox="1"/>
          <p:nvPr userDrawn="1"/>
        </p:nvSpPr>
        <p:spPr>
          <a:xfrm>
            <a:off x="6096000" y="6588088"/>
            <a:ext cx="6096000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pt" sz="800">
                <a:solidFill>
                  <a:schemeClr val="bg1"/>
                </a:solidFill>
              </a:rPr>
              <a:t>© </a:t>
            </a:r>
            <a:r>
              <a:rPr lang="nb-NO" sz="800">
                <a:solidFill>
                  <a:schemeClr val="bg1"/>
                </a:solidFill>
              </a:rPr>
              <a:t>Sensio AS</a:t>
            </a:r>
            <a:r>
              <a:rPr lang="pt" sz="800">
                <a:solidFill>
                  <a:schemeClr val="bg1"/>
                </a:solidFill>
              </a:rPr>
              <a:t> 2024</a:t>
            </a:r>
            <a:endParaRPr lang="nb-NO" sz="800">
              <a:solidFill>
                <a:schemeClr val="bg1"/>
              </a:solidFill>
            </a:endParaRP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819F2929-CC98-422A-920C-8822C1651BE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5429" y="378904"/>
            <a:ext cx="1144801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70361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tat mø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C7BF594-6122-A241-B1C9-2CDE6B8B6EE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8200" y="2626321"/>
            <a:ext cx="8049768" cy="802679"/>
          </a:xfrm>
        </p:spPr>
        <p:txBody>
          <a:bodyPr anchor="t">
            <a:norm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sitat. Klikk for å redigere sitat. Klikk for å redigere sitat.</a:t>
            </a:r>
            <a:br>
              <a:rPr lang="nb-NO"/>
            </a:br>
            <a:br>
              <a:rPr lang="nb-NO"/>
            </a:br>
            <a:br>
              <a:rPr lang="nb-NO"/>
            </a:br>
            <a:endParaRPr lang="nb-NO"/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9B80825F-FD71-8D43-902B-E41AF655E9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7695145" y="5135293"/>
            <a:ext cx="3115533" cy="3445413"/>
          </a:xfrm>
          <a:prstGeom prst="rect">
            <a:avLst/>
          </a:prstGeom>
        </p:spPr>
      </p:pic>
      <p:pic>
        <p:nvPicPr>
          <p:cNvPr id="11" name="Bilde 10">
            <a:extLst>
              <a:ext uri="{FF2B5EF4-FFF2-40B4-BE49-F238E27FC236}">
                <a16:creationId xmlns:a16="http://schemas.microsoft.com/office/drawing/2014/main" id="{E9642F2B-CEBF-D146-82AF-68221D831DB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05421" y="384345"/>
            <a:ext cx="1351150" cy="351299"/>
          </a:xfrm>
          <a:prstGeom prst="rect">
            <a:avLst/>
          </a:prstGeom>
        </p:spPr>
      </p:pic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D7EF3741-5C78-4E4D-B941-29F22096529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3557017"/>
            <a:ext cx="5718048" cy="365126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Navn</a:t>
            </a:r>
          </a:p>
        </p:txBody>
      </p:sp>
      <p:sp>
        <p:nvSpPr>
          <p:cNvPr id="7" name="TextBox 8">
            <a:extLst>
              <a:ext uri="{FF2B5EF4-FFF2-40B4-BE49-F238E27FC236}">
                <a16:creationId xmlns:a16="http://schemas.microsoft.com/office/drawing/2014/main" id="{21426BA3-A540-45D0-BD58-D16ED2304D90}"/>
              </a:ext>
            </a:extLst>
          </p:cNvPr>
          <p:cNvSpPr txBox="1"/>
          <p:nvPr userDrawn="1"/>
        </p:nvSpPr>
        <p:spPr>
          <a:xfrm>
            <a:off x="0" y="6588088"/>
            <a:ext cx="12192000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pt" sz="800">
                <a:solidFill>
                  <a:schemeClr val="bg1"/>
                </a:solidFill>
              </a:rPr>
              <a:t>© </a:t>
            </a:r>
            <a:r>
              <a:rPr lang="nb-NO" sz="800">
                <a:solidFill>
                  <a:schemeClr val="bg1"/>
                </a:solidFill>
              </a:rPr>
              <a:t>Sensio AS</a:t>
            </a:r>
            <a:r>
              <a:rPr lang="pt" sz="800">
                <a:solidFill>
                  <a:schemeClr val="bg1"/>
                </a:solidFill>
              </a:rPr>
              <a:t> 2024</a:t>
            </a:r>
            <a:endParaRPr lang="nb-NO" sz="800">
              <a:solidFill>
                <a:schemeClr val="bg1"/>
              </a:solidFill>
            </a:endParaRPr>
          </a:p>
        </p:txBody>
      </p:sp>
      <p:pic>
        <p:nvPicPr>
          <p:cNvPr id="8" name="Bilde 7" descr="Et bilde som inneholder tegning&#10;&#10;Automatisk generert beskrivelse">
            <a:extLst>
              <a:ext uri="{FF2B5EF4-FFF2-40B4-BE49-F238E27FC236}">
                <a16:creationId xmlns:a16="http://schemas.microsoft.com/office/drawing/2014/main" id="{29FC63EC-4E79-42D1-BC64-2548BAEE9C0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35429" y="384345"/>
            <a:ext cx="1144801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92324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ta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C7BF594-6122-A241-B1C9-2CDE6B8B6EE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8200" y="2626321"/>
            <a:ext cx="8049768" cy="802679"/>
          </a:xfrm>
        </p:spPr>
        <p:txBody>
          <a:bodyPr anchor="t">
            <a:normAutofit/>
          </a:bodyPr>
          <a:lstStyle>
            <a:lvl1pPr algn="l">
              <a:defRPr sz="2800">
                <a:solidFill>
                  <a:srgbClr val="000000"/>
                </a:solidFill>
              </a:defRPr>
            </a:lvl1pPr>
          </a:lstStyle>
          <a:p>
            <a:r>
              <a:rPr lang="nb-NO"/>
              <a:t>Klikk for å redigere sitat. Klikk for å redigere sitat. Klikk for å redigere sitat.</a:t>
            </a:r>
            <a:br>
              <a:rPr lang="nb-NO"/>
            </a:br>
            <a:br>
              <a:rPr lang="nb-NO"/>
            </a:br>
            <a:br>
              <a:rPr lang="nb-NO"/>
            </a:br>
            <a:endParaRPr lang="nb-NO"/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9B80825F-FD71-8D43-902B-E41AF655E9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7695145" y="5135293"/>
            <a:ext cx="3115533" cy="3445412"/>
          </a:xfrm>
          <a:prstGeom prst="rect">
            <a:avLst/>
          </a:prstGeom>
        </p:spPr>
      </p:pic>
      <p:pic>
        <p:nvPicPr>
          <p:cNvPr id="11" name="Bilde 10">
            <a:extLst>
              <a:ext uri="{FF2B5EF4-FFF2-40B4-BE49-F238E27FC236}">
                <a16:creationId xmlns:a16="http://schemas.microsoft.com/office/drawing/2014/main" id="{E9642F2B-CEBF-D146-82AF-68221D831DB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05421" y="384345"/>
            <a:ext cx="1351150" cy="351299"/>
          </a:xfrm>
          <a:prstGeom prst="rect">
            <a:avLst/>
          </a:prstGeom>
        </p:spPr>
      </p:pic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D7EF3741-5C78-4E4D-B941-29F22096529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3557017"/>
            <a:ext cx="5718048" cy="365126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</a:lstStyle>
          <a:p>
            <a:r>
              <a:rPr lang="nb-NO"/>
              <a:t>Navn</a:t>
            </a:r>
          </a:p>
        </p:txBody>
      </p:sp>
      <p:sp>
        <p:nvSpPr>
          <p:cNvPr id="7" name="TextBox 8">
            <a:extLst>
              <a:ext uri="{FF2B5EF4-FFF2-40B4-BE49-F238E27FC236}">
                <a16:creationId xmlns:a16="http://schemas.microsoft.com/office/drawing/2014/main" id="{28B84E6A-EB90-4359-A245-E85A7681AC21}"/>
              </a:ext>
            </a:extLst>
          </p:cNvPr>
          <p:cNvSpPr txBox="1"/>
          <p:nvPr userDrawn="1"/>
        </p:nvSpPr>
        <p:spPr>
          <a:xfrm>
            <a:off x="0" y="6588088"/>
            <a:ext cx="12192000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pt" sz="800">
                <a:solidFill>
                  <a:srgbClr val="1D2242"/>
                </a:solidFill>
              </a:rPr>
              <a:t>© </a:t>
            </a:r>
            <a:r>
              <a:rPr lang="nb-NO" sz="800">
                <a:solidFill>
                  <a:srgbClr val="1D2242"/>
                </a:solidFill>
              </a:rPr>
              <a:t>Sensio AS</a:t>
            </a:r>
            <a:r>
              <a:rPr lang="pt" sz="800">
                <a:solidFill>
                  <a:srgbClr val="1D2242"/>
                </a:solidFill>
              </a:rPr>
              <a:t> 2024</a:t>
            </a:r>
            <a:endParaRPr lang="nb-NO" sz="800">
              <a:solidFill>
                <a:srgbClr val="1D2242"/>
              </a:solidFill>
            </a:endParaRP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147A1727-C78D-4D95-BAC6-212586383BC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35429" y="378904"/>
            <a:ext cx="1144801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55158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sirkel,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>
            <a:extLst>
              <a:ext uri="{FF2B5EF4-FFF2-40B4-BE49-F238E27FC236}">
                <a16:creationId xmlns:a16="http://schemas.microsoft.com/office/drawing/2014/main" id="{A444A815-048E-634D-9DF2-9BC9236B9E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05421" y="384345"/>
            <a:ext cx="1351150" cy="351299"/>
          </a:xfrm>
          <a:prstGeom prst="rect">
            <a:avLst/>
          </a:prstGeom>
        </p:spPr>
      </p:pic>
      <p:pic>
        <p:nvPicPr>
          <p:cNvPr id="12" name="Bilde 11">
            <a:extLst>
              <a:ext uri="{FF2B5EF4-FFF2-40B4-BE49-F238E27FC236}">
                <a16:creationId xmlns:a16="http://schemas.microsoft.com/office/drawing/2014/main" id="{FB18F1DB-2A6E-2945-BAF5-6C0E35D879B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038599" y="1080262"/>
            <a:ext cx="913686" cy="913686"/>
          </a:xfrm>
          <a:prstGeom prst="rect">
            <a:avLst/>
          </a:prstGeom>
        </p:spPr>
      </p:pic>
      <p:sp>
        <p:nvSpPr>
          <p:cNvPr id="15" name="Tittel 1">
            <a:extLst>
              <a:ext uri="{FF2B5EF4-FFF2-40B4-BE49-F238E27FC236}">
                <a16:creationId xmlns:a16="http://schemas.microsoft.com/office/drawing/2014/main" id="{0D2A47CE-DDC5-1641-8D53-0145F1F3B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92656" y="2257261"/>
            <a:ext cx="5701800" cy="594665"/>
          </a:xfrm>
        </p:spPr>
        <p:txBody>
          <a:bodyPr anchor="b" anchorCtr="0"/>
          <a:lstStyle>
            <a:lvl1pPr>
              <a:defRPr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6" name="Plassholder for innhold 2">
            <a:extLst>
              <a:ext uri="{FF2B5EF4-FFF2-40B4-BE49-F238E27FC236}">
                <a16:creationId xmlns:a16="http://schemas.microsoft.com/office/drawing/2014/main" id="{94C9FB78-03B8-9F44-B746-689C23BE81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92656" y="2894454"/>
            <a:ext cx="5701800" cy="2645791"/>
          </a:xfrm>
        </p:spPr>
        <p:txBody>
          <a:bodyPr/>
          <a:lstStyle>
            <a:lvl1pPr marL="0" indent="0">
              <a:buNone/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226EEE45-BA0F-FD47-A5BA-079D8CB0344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47644" y="1930448"/>
            <a:ext cx="3770774" cy="3847290"/>
          </a:xfrm>
          <a:custGeom>
            <a:avLst/>
            <a:gdLst>
              <a:gd name="connsiteX0" fmla="*/ 1885387 w 3770774"/>
              <a:gd name="connsiteY0" fmla="*/ 0 h 3847290"/>
              <a:gd name="connsiteX1" fmla="*/ 3770774 w 3770774"/>
              <a:gd name="connsiteY1" fmla="*/ 1923645 h 3847290"/>
              <a:gd name="connsiteX2" fmla="*/ 1885387 w 3770774"/>
              <a:gd name="connsiteY2" fmla="*/ 3847290 h 3847290"/>
              <a:gd name="connsiteX3" fmla="*/ 0 w 3770774"/>
              <a:gd name="connsiteY3" fmla="*/ 1923645 h 3847290"/>
              <a:gd name="connsiteX4" fmla="*/ 1885387 w 3770774"/>
              <a:gd name="connsiteY4" fmla="*/ 0 h 38472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70774" h="3847290">
                <a:moveTo>
                  <a:pt x="1885387" y="0"/>
                </a:moveTo>
                <a:cubicBezTo>
                  <a:pt x="2926657" y="0"/>
                  <a:pt x="3770774" y="861245"/>
                  <a:pt x="3770774" y="1923645"/>
                </a:cubicBezTo>
                <a:cubicBezTo>
                  <a:pt x="3770774" y="2986045"/>
                  <a:pt x="2926657" y="3847290"/>
                  <a:pt x="1885387" y="3847290"/>
                </a:cubicBezTo>
                <a:cubicBezTo>
                  <a:pt x="844117" y="3847290"/>
                  <a:pt x="0" y="2986045"/>
                  <a:pt x="0" y="1923645"/>
                </a:cubicBezTo>
                <a:cubicBezTo>
                  <a:pt x="0" y="861245"/>
                  <a:pt x="844117" y="0"/>
                  <a:pt x="1885387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46800" rIns="720000" anchor="ctr" anchorCtr="0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Dobbeltklikk for å legge til bild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2F0AF5E-2606-4E0F-8863-9457A7A8A1CB}"/>
              </a:ext>
            </a:extLst>
          </p:cNvPr>
          <p:cNvSpPr txBox="1"/>
          <p:nvPr userDrawn="1"/>
        </p:nvSpPr>
        <p:spPr>
          <a:xfrm>
            <a:off x="0" y="6588088"/>
            <a:ext cx="12192000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pt" sz="800">
                <a:solidFill>
                  <a:srgbClr val="1D2242"/>
                </a:solidFill>
              </a:rPr>
              <a:t>© </a:t>
            </a:r>
            <a:r>
              <a:rPr lang="nb-NO" sz="800">
                <a:solidFill>
                  <a:srgbClr val="1D2242"/>
                </a:solidFill>
              </a:rPr>
              <a:t>Sensio AS</a:t>
            </a:r>
            <a:r>
              <a:rPr lang="pt" sz="800">
                <a:solidFill>
                  <a:srgbClr val="1D2242"/>
                </a:solidFill>
              </a:rPr>
              <a:t> 2024</a:t>
            </a:r>
            <a:endParaRPr lang="nb-NO" sz="800">
              <a:solidFill>
                <a:srgbClr val="1D2242"/>
              </a:solidFill>
            </a:endParaRP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191B80FF-F068-4B38-9D65-C088988195D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35429" y="378904"/>
            <a:ext cx="1144801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51844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 mø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E9642F2B-CEBF-D146-82AF-68221D831DB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05421" y="384345"/>
            <a:ext cx="1351150" cy="351299"/>
          </a:xfrm>
          <a:prstGeom prst="rect">
            <a:avLst/>
          </a:prstGeom>
        </p:spPr>
      </p:pic>
      <p:sp>
        <p:nvSpPr>
          <p:cNvPr id="4" name="TextBox 8">
            <a:extLst>
              <a:ext uri="{FF2B5EF4-FFF2-40B4-BE49-F238E27FC236}">
                <a16:creationId xmlns:a16="http://schemas.microsoft.com/office/drawing/2014/main" id="{F404EB62-65D4-4A1B-87DB-8C819503E7AB}"/>
              </a:ext>
            </a:extLst>
          </p:cNvPr>
          <p:cNvSpPr txBox="1"/>
          <p:nvPr userDrawn="1"/>
        </p:nvSpPr>
        <p:spPr>
          <a:xfrm>
            <a:off x="0" y="6588088"/>
            <a:ext cx="12192000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pt" sz="800">
                <a:solidFill>
                  <a:schemeClr val="bg1"/>
                </a:solidFill>
              </a:rPr>
              <a:t>© </a:t>
            </a:r>
            <a:r>
              <a:rPr lang="nb-NO" sz="800">
                <a:solidFill>
                  <a:schemeClr val="bg1"/>
                </a:solidFill>
              </a:rPr>
              <a:t>Sensio AS</a:t>
            </a:r>
            <a:r>
              <a:rPr lang="pt" sz="800">
                <a:solidFill>
                  <a:schemeClr val="bg1"/>
                </a:solidFill>
              </a:rPr>
              <a:t> 2024</a:t>
            </a:r>
            <a:endParaRPr lang="nb-NO" sz="800">
              <a:solidFill>
                <a:schemeClr val="bg1"/>
              </a:solidFill>
            </a:endParaRPr>
          </a:p>
        </p:txBody>
      </p:sp>
      <p:pic>
        <p:nvPicPr>
          <p:cNvPr id="3" name="Bilde 2" descr="Et bilde som inneholder tegning&#10;&#10;Automatisk generert beskrivelse">
            <a:extLst>
              <a:ext uri="{FF2B5EF4-FFF2-40B4-BE49-F238E27FC236}">
                <a16:creationId xmlns:a16="http://schemas.microsoft.com/office/drawing/2014/main" id="{17F07161-F3B4-413A-98DB-0A363B17055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5429" y="384345"/>
            <a:ext cx="1144801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89561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59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 l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>
            <a:extLst>
              <a:ext uri="{FF2B5EF4-FFF2-40B4-BE49-F238E27FC236}">
                <a16:creationId xmlns:a16="http://schemas.microsoft.com/office/drawing/2014/main" id="{A444A815-048E-634D-9DF2-9BC9236B9E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05421" y="384345"/>
            <a:ext cx="1351150" cy="351299"/>
          </a:xfrm>
          <a:prstGeom prst="rect">
            <a:avLst/>
          </a:prstGeom>
        </p:spPr>
      </p:pic>
      <p:sp>
        <p:nvSpPr>
          <p:cNvPr id="4" name="TextBox 8">
            <a:extLst>
              <a:ext uri="{FF2B5EF4-FFF2-40B4-BE49-F238E27FC236}">
                <a16:creationId xmlns:a16="http://schemas.microsoft.com/office/drawing/2014/main" id="{BF6A3FA5-8B5E-4095-A0FA-04A043712209}"/>
              </a:ext>
            </a:extLst>
          </p:cNvPr>
          <p:cNvSpPr txBox="1"/>
          <p:nvPr userDrawn="1"/>
        </p:nvSpPr>
        <p:spPr>
          <a:xfrm>
            <a:off x="0" y="6588088"/>
            <a:ext cx="12192000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pt" sz="800">
                <a:solidFill>
                  <a:srgbClr val="1D2242"/>
                </a:solidFill>
              </a:rPr>
              <a:t>© </a:t>
            </a:r>
            <a:r>
              <a:rPr lang="nb-NO" sz="800">
                <a:solidFill>
                  <a:srgbClr val="1D2242"/>
                </a:solidFill>
              </a:rPr>
              <a:t>Sensio AS</a:t>
            </a:r>
            <a:r>
              <a:rPr lang="pt" sz="800">
                <a:solidFill>
                  <a:srgbClr val="1D2242"/>
                </a:solidFill>
              </a:rPr>
              <a:t> 2024</a:t>
            </a:r>
            <a:endParaRPr lang="nb-NO" sz="800">
              <a:solidFill>
                <a:srgbClr val="1D2242"/>
              </a:solidFill>
            </a:endParaRPr>
          </a:p>
        </p:txBody>
      </p:sp>
      <p:pic>
        <p:nvPicPr>
          <p:cNvPr id="3" name="Bilde 2">
            <a:extLst>
              <a:ext uri="{FF2B5EF4-FFF2-40B4-BE49-F238E27FC236}">
                <a16:creationId xmlns:a16="http://schemas.microsoft.com/office/drawing/2014/main" id="{C1B974A2-1A3D-4F3A-AF0A-2FB382D5A90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5429" y="384345"/>
            <a:ext cx="1144801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870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59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C7BF594-6122-A241-B1C9-2CDE6B8B6EE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8200" y="2626321"/>
            <a:ext cx="6318871" cy="1608795"/>
          </a:xfrm>
        </p:spPr>
        <p:txBody>
          <a:bodyPr anchor="t" anchorCtr="0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</a:t>
            </a:r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9B80825F-FD71-8D43-902B-E41AF655E9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9706826" y="1636295"/>
            <a:ext cx="4008967" cy="4433446"/>
          </a:xfrm>
          <a:prstGeom prst="rect">
            <a:avLst/>
          </a:prstGeom>
        </p:spPr>
      </p:pic>
      <p:pic>
        <p:nvPicPr>
          <p:cNvPr id="11" name="Bilde 10">
            <a:extLst>
              <a:ext uri="{FF2B5EF4-FFF2-40B4-BE49-F238E27FC236}">
                <a16:creationId xmlns:a16="http://schemas.microsoft.com/office/drawing/2014/main" id="{E9642F2B-CEBF-D146-82AF-68221D831DB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05421" y="384345"/>
            <a:ext cx="1351150" cy="351299"/>
          </a:xfrm>
          <a:prstGeom prst="rect">
            <a:avLst/>
          </a:prstGeom>
        </p:spPr>
      </p:pic>
      <p:pic>
        <p:nvPicPr>
          <p:cNvPr id="5" name="Bilde 4" descr="Et bilde som inneholder tegning&#10;&#10;Automatisk generert beskrivelse">
            <a:extLst>
              <a:ext uri="{FF2B5EF4-FFF2-40B4-BE49-F238E27FC236}">
                <a16:creationId xmlns:a16="http://schemas.microsoft.com/office/drawing/2014/main" id="{48124E03-67B9-4FBF-956E-E389A7A9FAD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35429" y="384345"/>
            <a:ext cx="1144801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511271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tel og to sp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AD78050-1428-F642-8857-E5294A2C92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151510"/>
            <a:ext cx="10515600" cy="867930"/>
          </a:xfrm>
        </p:spPr>
        <p:txBody>
          <a:bodyPr anchor="t">
            <a:spAutoFit/>
          </a:bodyPr>
          <a:lstStyle/>
          <a:p>
            <a:r>
              <a:rPr lang="nb-NO"/>
              <a:t>Klikk for å </a:t>
            </a:r>
            <a:br>
              <a:rPr lang="nb-NO"/>
            </a:br>
            <a:r>
              <a:rPr lang="nb-NO"/>
              <a:t>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0CBF1454-89A1-3D41-893A-39A0DDC078B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2210933"/>
            <a:ext cx="5181600" cy="4053967"/>
          </a:xfrm>
        </p:spPr>
        <p:txBody>
          <a:bodyPr/>
          <a:lstStyle>
            <a:lvl1pPr marL="0" indent="0">
              <a:buNone/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91A4090C-188B-7846-8940-DEC47D0B82F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2210933"/>
            <a:ext cx="5181600" cy="4053967"/>
          </a:xfrm>
        </p:spPr>
        <p:txBody>
          <a:bodyPr/>
          <a:lstStyle>
            <a:lvl1pPr marL="0" indent="0">
              <a:buNone/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nb-NO"/>
              <a:t>Rediger tekststiler i malen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AA62592E-BA1C-674B-B586-C4E778C16B3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05421" y="384345"/>
            <a:ext cx="1351150" cy="351299"/>
          </a:xfrm>
          <a:prstGeom prst="rect">
            <a:avLst/>
          </a:prstGeom>
        </p:spPr>
      </p:pic>
      <p:sp>
        <p:nvSpPr>
          <p:cNvPr id="7" name="TextBox 8">
            <a:extLst>
              <a:ext uri="{FF2B5EF4-FFF2-40B4-BE49-F238E27FC236}">
                <a16:creationId xmlns:a16="http://schemas.microsoft.com/office/drawing/2014/main" id="{5BD12CBD-C7C1-4A4A-B4AA-10287AF80C1E}"/>
              </a:ext>
            </a:extLst>
          </p:cNvPr>
          <p:cNvSpPr txBox="1"/>
          <p:nvPr userDrawn="1"/>
        </p:nvSpPr>
        <p:spPr>
          <a:xfrm>
            <a:off x="0" y="6588088"/>
            <a:ext cx="12192000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pt" sz="800">
                <a:solidFill>
                  <a:srgbClr val="1D2242"/>
                </a:solidFill>
              </a:rPr>
              <a:t>© </a:t>
            </a:r>
            <a:r>
              <a:rPr lang="nb-NO" sz="800">
                <a:solidFill>
                  <a:srgbClr val="1D2242"/>
                </a:solidFill>
              </a:rPr>
              <a:t>Sensio AS</a:t>
            </a:r>
            <a:r>
              <a:rPr lang="pt" sz="800">
                <a:solidFill>
                  <a:srgbClr val="1D2242"/>
                </a:solidFill>
              </a:rPr>
              <a:t> 2024</a:t>
            </a:r>
            <a:endParaRPr lang="nb-NO" sz="800">
              <a:solidFill>
                <a:srgbClr val="1D2242"/>
              </a:solidFill>
            </a:endParaRPr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C0794156-CDC0-480B-8A04-DE667B2F86A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5429" y="384345"/>
            <a:ext cx="1144801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732952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>
            <a:extLst>
              <a:ext uri="{FF2B5EF4-FFF2-40B4-BE49-F238E27FC236}">
                <a16:creationId xmlns:a16="http://schemas.microsoft.com/office/drawing/2014/main" id="{A444A815-048E-634D-9DF2-9BC9236B9E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05421" y="384345"/>
            <a:ext cx="1351150" cy="351299"/>
          </a:xfrm>
          <a:prstGeom prst="rect">
            <a:avLst/>
          </a:prstGeom>
        </p:spPr>
      </p:pic>
      <p:pic>
        <p:nvPicPr>
          <p:cNvPr id="8" name="Bilde 7">
            <a:extLst>
              <a:ext uri="{FF2B5EF4-FFF2-40B4-BE49-F238E27FC236}">
                <a16:creationId xmlns:a16="http://schemas.microsoft.com/office/drawing/2014/main" id="{85F789B1-04DD-9F45-A566-B7EBC954085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 flipH="1">
            <a:off x="9706826" y="1636295"/>
            <a:ext cx="4008967" cy="4433445"/>
          </a:xfrm>
          <a:prstGeom prst="rect">
            <a:avLst/>
          </a:prstGeom>
        </p:spPr>
      </p:pic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3F5CA4DE-FDE4-B94D-B6C7-D161606C27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3014374"/>
            <a:ext cx="8314944" cy="3175286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6" name="Tittel 1">
            <a:extLst>
              <a:ext uri="{FF2B5EF4-FFF2-40B4-BE49-F238E27FC236}">
                <a16:creationId xmlns:a16="http://schemas.microsoft.com/office/drawing/2014/main" id="{659BB3B6-B316-5B4F-9D24-70E3C8F479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257261"/>
            <a:ext cx="8314944" cy="594665"/>
          </a:xfrm>
          <a:ln>
            <a:noFill/>
          </a:ln>
        </p:spPr>
        <p:txBody>
          <a:bodyPr anchor="b" anchorCtr="0"/>
          <a:lstStyle>
            <a:lvl1pPr>
              <a:defRPr lang="nb-NO" dirty="0"/>
            </a:lvl1pPr>
          </a:lstStyle>
          <a:p>
            <a:r>
              <a:rPr lang="nb-NO"/>
              <a:t>Klikk for å redigere titt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3997BA3-441E-5847-83F5-C02DB0BFFBF3}"/>
              </a:ext>
            </a:extLst>
          </p:cNvPr>
          <p:cNvSpPr txBox="1"/>
          <p:nvPr userDrawn="1"/>
        </p:nvSpPr>
        <p:spPr>
          <a:xfrm>
            <a:off x="0" y="6588088"/>
            <a:ext cx="12192000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pt" sz="800">
                <a:solidFill>
                  <a:srgbClr val="1D2242"/>
                </a:solidFill>
              </a:rPr>
              <a:t>© </a:t>
            </a:r>
            <a:r>
              <a:rPr lang="nb-NO" sz="800">
                <a:solidFill>
                  <a:srgbClr val="1D2242"/>
                </a:solidFill>
              </a:rPr>
              <a:t>Sensio AS</a:t>
            </a:r>
            <a:r>
              <a:rPr lang="pt" sz="800">
                <a:solidFill>
                  <a:srgbClr val="1D2242"/>
                </a:solidFill>
              </a:rPr>
              <a:t> 2024</a:t>
            </a:r>
            <a:endParaRPr lang="nb-NO" sz="800">
              <a:solidFill>
                <a:srgbClr val="1D2242"/>
              </a:solidFill>
            </a:endParaRP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4A1D8B03-75EA-488B-9871-61F70341741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35429" y="378904"/>
            <a:ext cx="1144801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70206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 go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>
            <a:extLst>
              <a:ext uri="{FF2B5EF4-FFF2-40B4-BE49-F238E27FC236}">
                <a16:creationId xmlns:a16="http://schemas.microsoft.com/office/drawing/2014/main" id="{A444A815-048E-634D-9DF2-9BC9236B9E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05421" y="384345"/>
            <a:ext cx="1351150" cy="351299"/>
          </a:xfrm>
          <a:prstGeom prst="rect">
            <a:avLst/>
          </a:prstGeom>
        </p:spPr>
      </p:pic>
      <p:pic>
        <p:nvPicPr>
          <p:cNvPr id="9" name="Bilde 8">
            <a:extLst>
              <a:ext uri="{FF2B5EF4-FFF2-40B4-BE49-F238E27FC236}">
                <a16:creationId xmlns:a16="http://schemas.microsoft.com/office/drawing/2014/main" id="{9F8C8EA7-07AC-944B-8C5A-3E0D8360D7E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 flipH="1">
            <a:off x="7695145" y="5135293"/>
            <a:ext cx="3115533" cy="3445412"/>
          </a:xfrm>
          <a:prstGeom prst="rect">
            <a:avLst/>
          </a:prstGeom>
        </p:spPr>
      </p:pic>
      <p:sp>
        <p:nvSpPr>
          <p:cNvPr id="11" name="Plassholder for innhold 2">
            <a:extLst>
              <a:ext uri="{FF2B5EF4-FFF2-40B4-BE49-F238E27FC236}">
                <a16:creationId xmlns:a16="http://schemas.microsoft.com/office/drawing/2014/main" id="{385AE6A5-17F6-F840-8DB3-3BC8422F44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3014374"/>
            <a:ext cx="8314944" cy="3238214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6" name="Tittel 1">
            <a:extLst>
              <a:ext uri="{FF2B5EF4-FFF2-40B4-BE49-F238E27FC236}">
                <a16:creationId xmlns:a16="http://schemas.microsoft.com/office/drawing/2014/main" id="{342AEDAA-54C4-7445-8DFF-2626886108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257261"/>
            <a:ext cx="8314944" cy="594665"/>
          </a:xfrm>
          <a:ln>
            <a:noFill/>
          </a:ln>
        </p:spPr>
        <p:txBody>
          <a:bodyPr anchor="b" anchorCtr="0"/>
          <a:lstStyle>
            <a:lvl1pPr>
              <a:defRPr lang="nb-NO" dirty="0"/>
            </a:lvl1pPr>
          </a:lstStyle>
          <a:p>
            <a:r>
              <a:rPr lang="nb-NO"/>
              <a:t>Klikk for å redigere tittel</a:t>
            </a:r>
          </a:p>
        </p:txBody>
      </p:sp>
      <p:sp>
        <p:nvSpPr>
          <p:cNvPr id="10" name="TextBox 8">
            <a:extLst>
              <a:ext uri="{FF2B5EF4-FFF2-40B4-BE49-F238E27FC236}">
                <a16:creationId xmlns:a16="http://schemas.microsoft.com/office/drawing/2014/main" id="{E7392884-C0DC-4CB4-BCBB-0D854193E2BA}"/>
              </a:ext>
            </a:extLst>
          </p:cNvPr>
          <p:cNvSpPr txBox="1"/>
          <p:nvPr userDrawn="1"/>
        </p:nvSpPr>
        <p:spPr>
          <a:xfrm>
            <a:off x="0" y="6588088"/>
            <a:ext cx="12192000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pt" sz="800">
                <a:solidFill>
                  <a:srgbClr val="1D2242"/>
                </a:solidFill>
              </a:rPr>
              <a:t>© </a:t>
            </a:r>
            <a:r>
              <a:rPr lang="nb-NO" sz="800">
                <a:solidFill>
                  <a:srgbClr val="1D2242"/>
                </a:solidFill>
              </a:rPr>
              <a:t>Sensio AS</a:t>
            </a:r>
            <a:r>
              <a:rPr lang="pt" sz="800">
                <a:solidFill>
                  <a:srgbClr val="1D2242"/>
                </a:solidFill>
              </a:rPr>
              <a:t> 2024</a:t>
            </a:r>
            <a:endParaRPr lang="nb-NO" sz="800">
              <a:solidFill>
                <a:srgbClr val="1D2242"/>
              </a:solidFill>
            </a:endParaRP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EBFFFDC9-DEE4-4BB0-AA8A-2B2A26E408C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35429" y="378904"/>
            <a:ext cx="1144801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900533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>
            <a:extLst>
              <a:ext uri="{FF2B5EF4-FFF2-40B4-BE49-F238E27FC236}">
                <a16:creationId xmlns:a16="http://schemas.microsoft.com/office/drawing/2014/main" id="{A444A815-048E-634D-9DF2-9BC9236B9E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05421" y="384345"/>
            <a:ext cx="1351150" cy="351299"/>
          </a:xfrm>
          <a:prstGeom prst="rect">
            <a:avLst/>
          </a:prstGeom>
        </p:spPr>
      </p:pic>
      <p:pic>
        <p:nvPicPr>
          <p:cNvPr id="8" name="Bilde 7">
            <a:extLst>
              <a:ext uri="{FF2B5EF4-FFF2-40B4-BE49-F238E27FC236}">
                <a16:creationId xmlns:a16="http://schemas.microsoft.com/office/drawing/2014/main" id="{85F789B1-04DD-9F45-A566-B7EBC954085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 flipH="1">
            <a:off x="9706826" y="1636295"/>
            <a:ext cx="4008967" cy="4433445"/>
          </a:xfrm>
          <a:prstGeom prst="rect">
            <a:avLst/>
          </a:prstGeom>
        </p:spPr>
      </p:pic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3F5CA4DE-FDE4-B94D-B6C7-D161606C27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3014374"/>
            <a:ext cx="8314944" cy="3175286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6" name="Tittel 1">
            <a:extLst>
              <a:ext uri="{FF2B5EF4-FFF2-40B4-BE49-F238E27FC236}">
                <a16:creationId xmlns:a16="http://schemas.microsoft.com/office/drawing/2014/main" id="{659BB3B6-B316-5B4F-9D24-70E3C8F479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257261"/>
            <a:ext cx="8314944" cy="594665"/>
          </a:xfrm>
          <a:ln>
            <a:noFill/>
          </a:ln>
        </p:spPr>
        <p:txBody>
          <a:bodyPr anchor="b" anchorCtr="0"/>
          <a:lstStyle>
            <a:lvl1pPr>
              <a:defRPr lang="nb-NO" dirty="0"/>
            </a:lvl1pPr>
          </a:lstStyle>
          <a:p>
            <a:r>
              <a:rPr lang="nb-NO"/>
              <a:t>Klikk for å redigere titt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3997BA3-441E-5847-83F5-C02DB0BFFBF3}"/>
              </a:ext>
            </a:extLst>
          </p:cNvPr>
          <p:cNvSpPr txBox="1"/>
          <p:nvPr userDrawn="1"/>
        </p:nvSpPr>
        <p:spPr>
          <a:xfrm>
            <a:off x="0" y="6588088"/>
            <a:ext cx="12192000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pt" sz="800">
                <a:solidFill>
                  <a:srgbClr val="1D2242"/>
                </a:solidFill>
              </a:rPr>
              <a:t>© </a:t>
            </a:r>
            <a:r>
              <a:rPr lang="nb-NO" sz="800">
                <a:solidFill>
                  <a:srgbClr val="1D2242"/>
                </a:solidFill>
              </a:rPr>
              <a:t>Sensio AS</a:t>
            </a:r>
            <a:r>
              <a:rPr lang="pt" sz="800">
                <a:solidFill>
                  <a:srgbClr val="1D2242"/>
                </a:solidFill>
              </a:rPr>
              <a:t> 2024</a:t>
            </a:r>
            <a:endParaRPr lang="nb-NO" sz="800">
              <a:solidFill>
                <a:srgbClr val="1D2242"/>
              </a:solidFill>
            </a:endParaRP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4A1D8B03-75EA-488B-9871-61F70341741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35429" y="378904"/>
            <a:ext cx="1144801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291184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tel og mer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>
            <a:extLst>
              <a:ext uri="{FF2B5EF4-FFF2-40B4-BE49-F238E27FC236}">
                <a16:creationId xmlns:a16="http://schemas.microsoft.com/office/drawing/2014/main" id="{A444A815-048E-634D-9DF2-9BC9236B9E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05421" y="384345"/>
            <a:ext cx="1351150" cy="351299"/>
          </a:xfrm>
          <a:prstGeom prst="rect">
            <a:avLst/>
          </a:prstGeom>
        </p:spPr>
      </p:pic>
      <p:pic>
        <p:nvPicPr>
          <p:cNvPr id="8" name="Bilde 7">
            <a:extLst>
              <a:ext uri="{FF2B5EF4-FFF2-40B4-BE49-F238E27FC236}">
                <a16:creationId xmlns:a16="http://schemas.microsoft.com/office/drawing/2014/main" id="{85F789B1-04DD-9F45-A566-B7EBC954085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 flipH="1">
            <a:off x="9706826" y="1636295"/>
            <a:ext cx="4008967" cy="4433445"/>
          </a:xfrm>
          <a:prstGeom prst="rect">
            <a:avLst/>
          </a:prstGeom>
        </p:spPr>
      </p:pic>
      <p:sp>
        <p:nvSpPr>
          <p:cNvPr id="9" name="Tittel 1">
            <a:extLst>
              <a:ext uri="{FF2B5EF4-FFF2-40B4-BE49-F238E27FC236}">
                <a16:creationId xmlns:a16="http://schemas.microsoft.com/office/drawing/2014/main" id="{9C711CBB-7686-3444-9B53-BEAF6FFBBB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218894"/>
            <a:ext cx="8314944" cy="594665"/>
          </a:xfrm>
        </p:spPr>
        <p:txBody>
          <a:bodyPr anchor="b" anchorCtr="0"/>
          <a:lstStyle>
            <a:lvl1pPr>
              <a:defRPr b="1"/>
            </a:lvl1pPr>
          </a:lstStyle>
          <a:p>
            <a:r>
              <a:rPr lang="nb-NO"/>
              <a:t>Klikk for å redigere tittel</a:t>
            </a:r>
          </a:p>
        </p:txBody>
      </p:sp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912CF5C0-E7A2-1942-BA17-336FBF3AC1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983095"/>
            <a:ext cx="8314944" cy="4125114"/>
          </a:xfrm>
        </p:spPr>
        <p:txBody>
          <a:bodyPr/>
          <a:lstStyle>
            <a:lvl1pPr>
              <a:defRPr/>
            </a:lvl1pPr>
            <a:lvl2pPr marL="742950" indent="-285750">
              <a:buFont typeface="Arial" panose="020B0604020202020204" pitchFamily="34" charset="0"/>
              <a:buChar char="•"/>
              <a:defRPr/>
            </a:lvl2pPr>
            <a:lvl3pPr marL="1200150" indent="-285750"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1" name="TextBox 8">
            <a:extLst>
              <a:ext uri="{FF2B5EF4-FFF2-40B4-BE49-F238E27FC236}">
                <a16:creationId xmlns:a16="http://schemas.microsoft.com/office/drawing/2014/main" id="{9E4330DD-8D56-4C3B-A3C2-9BD910E04B22}"/>
              </a:ext>
            </a:extLst>
          </p:cNvPr>
          <p:cNvSpPr txBox="1"/>
          <p:nvPr userDrawn="1"/>
        </p:nvSpPr>
        <p:spPr>
          <a:xfrm>
            <a:off x="0" y="6588088"/>
            <a:ext cx="12192000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pt" sz="800">
                <a:solidFill>
                  <a:srgbClr val="1D2242"/>
                </a:solidFill>
              </a:rPr>
              <a:t>© </a:t>
            </a:r>
            <a:r>
              <a:rPr lang="nb-NO" sz="800">
                <a:solidFill>
                  <a:srgbClr val="1D2242"/>
                </a:solidFill>
              </a:rPr>
              <a:t>Sensio AS</a:t>
            </a:r>
            <a:r>
              <a:rPr lang="pt" sz="800">
                <a:solidFill>
                  <a:srgbClr val="1D2242"/>
                </a:solidFill>
              </a:rPr>
              <a:t> 2024</a:t>
            </a:r>
            <a:endParaRPr lang="nb-NO" sz="800">
              <a:solidFill>
                <a:srgbClr val="1D2242"/>
              </a:solidFill>
            </a:endParaRPr>
          </a:p>
        </p:txBody>
      </p:sp>
      <p:pic>
        <p:nvPicPr>
          <p:cNvPr id="12" name="Bilde 11">
            <a:extLst>
              <a:ext uri="{FF2B5EF4-FFF2-40B4-BE49-F238E27FC236}">
                <a16:creationId xmlns:a16="http://schemas.microsoft.com/office/drawing/2014/main" id="{B2823026-F259-4C4B-BE70-8F9DEBB030B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35429" y="378904"/>
            <a:ext cx="1144801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54387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tel og mer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>
            <a:extLst>
              <a:ext uri="{FF2B5EF4-FFF2-40B4-BE49-F238E27FC236}">
                <a16:creationId xmlns:a16="http://schemas.microsoft.com/office/drawing/2014/main" id="{A444A815-048E-634D-9DF2-9BC9236B9E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05421" y="384345"/>
            <a:ext cx="1351150" cy="351299"/>
          </a:xfrm>
          <a:prstGeom prst="rect">
            <a:avLst/>
          </a:prstGeom>
        </p:spPr>
      </p:pic>
      <p:sp>
        <p:nvSpPr>
          <p:cNvPr id="9" name="Tittel 1">
            <a:extLst>
              <a:ext uri="{FF2B5EF4-FFF2-40B4-BE49-F238E27FC236}">
                <a16:creationId xmlns:a16="http://schemas.microsoft.com/office/drawing/2014/main" id="{9C711CBB-7686-3444-9B53-BEAF6FFBBB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218894"/>
            <a:ext cx="8314944" cy="594665"/>
          </a:xfrm>
        </p:spPr>
        <p:txBody>
          <a:bodyPr anchor="b" anchorCtr="0"/>
          <a:lstStyle>
            <a:lvl1pPr>
              <a:defRPr b="1"/>
            </a:lvl1pPr>
          </a:lstStyle>
          <a:p>
            <a:r>
              <a:rPr lang="nb-NO"/>
              <a:t>Klikk for å redigere tittel</a:t>
            </a:r>
          </a:p>
        </p:txBody>
      </p:sp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912CF5C0-E7A2-1942-BA17-336FBF3AC1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983095"/>
            <a:ext cx="8314944" cy="4125114"/>
          </a:xfrm>
        </p:spPr>
        <p:txBody>
          <a:bodyPr/>
          <a:lstStyle>
            <a:lvl1pPr>
              <a:defRPr/>
            </a:lvl1pPr>
            <a:lvl2pPr marL="742950" indent="-285750">
              <a:buFont typeface="Arial" panose="020B0604020202020204" pitchFamily="34" charset="0"/>
              <a:buChar char="•"/>
              <a:defRPr/>
            </a:lvl2pPr>
            <a:lvl3pPr marL="1200150" indent="-285750"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6" name="TextBox 8">
            <a:extLst>
              <a:ext uri="{FF2B5EF4-FFF2-40B4-BE49-F238E27FC236}">
                <a16:creationId xmlns:a16="http://schemas.microsoft.com/office/drawing/2014/main" id="{91AF508F-F8EC-43C7-A8F7-4B5438BAB2D8}"/>
              </a:ext>
            </a:extLst>
          </p:cNvPr>
          <p:cNvSpPr txBox="1"/>
          <p:nvPr userDrawn="1"/>
        </p:nvSpPr>
        <p:spPr>
          <a:xfrm>
            <a:off x="0" y="6588088"/>
            <a:ext cx="12192000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pt" sz="800">
                <a:solidFill>
                  <a:srgbClr val="1D2242"/>
                </a:solidFill>
              </a:rPr>
              <a:t>© </a:t>
            </a:r>
            <a:r>
              <a:rPr lang="nb-NO" sz="800">
                <a:solidFill>
                  <a:srgbClr val="1D2242"/>
                </a:solidFill>
              </a:rPr>
              <a:t>Sensio AS</a:t>
            </a:r>
            <a:r>
              <a:rPr lang="pt" sz="800">
                <a:solidFill>
                  <a:srgbClr val="1D2242"/>
                </a:solidFill>
              </a:rPr>
              <a:t> 2024</a:t>
            </a:r>
            <a:endParaRPr lang="nb-NO" sz="800">
              <a:solidFill>
                <a:srgbClr val="1D2242"/>
              </a:solidFill>
            </a:endParaRP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05B7C39A-662C-4FE8-B06D-4578637797F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5429" y="378904"/>
            <a:ext cx="1144801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777558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tel go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>
            <a:extLst>
              <a:ext uri="{FF2B5EF4-FFF2-40B4-BE49-F238E27FC236}">
                <a16:creationId xmlns:a16="http://schemas.microsoft.com/office/drawing/2014/main" id="{A444A815-048E-634D-9DF2-9BC9236B9E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05421" y="384345"/>
            <a:ext cx="1351150" cy="351299"/>
          </a:xfrm>
          <a:prstGeom prst="rect">
            <a:avLst/>
          </a:prstGeom>
        </p:spPr>
      </p:pic>
      <p:pic>
        <p:nvPicPr>
          <p:cNvPr id="9" name="Bilde 8">
            <a:extLst>
              <a:ext uri="{FF2B5EF4-FFF2-40B4-BE49-F238E27FC236}">
                <a16:creationId xmlns:a16="http://schemas.microsoft.com/office/drawing/2014/main" id="{9F8C8EA7-07AC-944B-8C5A-3E0D8360D7E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 flipH="1">
            <a:off x="7695145" y="5135293"/>
            <a:ext cx="3115533" cy="3445412"/>
          </a:xfrm>
          <a:prstGeom prst="rect">
            <a:avLst/>
          </a:prstGeom>
        </p:spPr>
      </p:pic>
      <p:sp>
        <p:nvSpPr>
          <p:cNvPr id="11" name="Plassholder for innhold 2">
            <a:extLst>
              <a:ext uri="{FF2B5EF4-FFF2-40B4-BE49-F238E27FC236}">
                <a16:creationId xmlns:a16="http://schemas.microsoft.com/office/drawing/2014/main" id="{385AE6A5-17F6-F840-8DB3-3BC8422F44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3014374"/>
            <a:ext cx="8314944" cy="3238214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6" name="Tittel 1">
            <a:extLst>
              <a:ext uri="{FF2B5EF4-FFF2-40B4-BE49-F238E27FC236}">
                <a16:creationId xmlns:a16="http://schemas.microsoft.com/office/drawing/2014/main" id="{342AEDAA-54C4-7445-8DFF-2626886108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257261"/>
            <a:ext cx="8314944" cy="594665"/>
          </a:xfrm>
          <a:ln>
            <a:noFill/>
          </a:ln>
        </p:spPr>
        <p:txBody>
          <a:bodyPr anchor="b" anchorCtr="0"/>
          <a:lstStyle>
            <a:lvl1pPr>
              <a:defRPr lang="nb-NO" dirty="0"/>
            </a:lvl1pPr>
          </a:lstStyle>
          <a:p>
            <a:r>
              <a:rPr lang="nb-NO"/>
              <a:t>Klikk for å redigere tittel</a:t>
            </a:r>
          </a:p>
        </p:txBody>
      </p:sp>
      <p:sp>
        <p:nvSpPr>
          <p:cNvPr id="10" name="TextBox 8">
            <a:extLst>
              <a:ext uri="{FF2B5EF4-FFF2-40B4-BE49-F238E27FC236}">
                <a16:creationId xmlns:a16="http://schemas.microsoft.com/office/drawing/2014/main" id="{E7392884-C0DC-4CB4-BCBB-0D854193E2BA}"/>
              </a:ext>
            </a:extLst>
          </p:cNvPr>
          <p:cNvSpPr txBox="1"/>
          <p:nvPr userDrawn="1"/>
        </p:nvSpPr>
        <p:spPr>
          <a:xfrm>
            <a:off x="0" y="6588088"/>
            <a:ext cx="12192000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pt" sz="800">
                <a:solidFill>
                  <a:srgbClr val="1D2242"/>
                </a:solidFill>
              </a:rPr>
              <a:t>© </a:t>
            </a:r>
            <a:r>
              <a:rPr lang="nb-NO" sz="800">
                <a:solidFill>
                  <a:srgbClr val="1D2242"/>
                </a:solidFill>
              </a:rPr>
              <a:t>Sensio AS</a:t>
            </a:r>
            <a:r>
              <a:rPr lang="pt" sz="800">
                <a:solidFill>
                  <a:srgbClr val="1D2242"/>
                </a:solidFill>
              </a:rPr>
              <a:t> 2024</a:t>
            </a:r>
            <a:endParaRPr lang="nb-NO" sz="800">
              <a:solidFill>
                <a:srgbClr val="1D2242"/>
              </a:solidFill>
            </a:endParaRP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EBFFFDC9-DEE4-4BB0-AA8A-2B2A26E408C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35429" y="378904"/>
            <a:ext cx="1144801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799146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tel uten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288BC62-E531-1B42-81C2-5AC5073245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832498"/>
            <a:ext cx="8314944" cy="594665"/>
          </a:xfrm>
          <a:ln>
            <a:noFill/>
          </a:ln>
        </p:spPr>
        <p:txBody>
          <a:bodyPr anchor="b" anchorCtr="0"/>
          <a:lstStyle>
            <a:lvl1pPr>
              <a:defRPr lang="nb-NO" dirty="0"/>
            </a:lvl1pPr>
          </a:lstStyle>
          <a:p>
            <a:r>
              <a:rPr lang="nb-NO"/>
              <a:t>Klikk for å redigere tittel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A444A815-048E-634D-9DF2-9BC9236B9E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05421" y="384345"/>
            <a:ext cx="1351150" cy="351299"/>
          </a:xfrm>
          <a:prstGeom prst="rect">
            <a:avLst/>
          </a:prstGeom>
        </p:spPr>
      </p:pic>
      <p:pic>
        <p:nvPicPr>
          <p:cNvPr id="8" name="Bilde 7">
            <a:extLst>
              <a:ext uri="{FF2B5EF4-FFF2-40B4-BE49-F238E27FC236}">
                <a16:creationId xmlns:a16="http://schemas.microsoft.com/office/drawing/2014/main" id="{85F789B1-04DD-9F45-A566-B7EBC954085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 flipH="1">
            <a:off x="9706826" y="1636295"/>
            <a:ext cx="4008967" cy="4433445"/>
          </a:xfrm>
          <a:prstGeom prst="rect">
            <a:avLst/>
          </a:prstGeom>
        </p:spPr>
      </p:pic>
      <p:sp>
        <p:nvSpPr>
          <p:cNvPr id="6" name="TextBox 8">
            <a:extLst>
              <a:ext uri="{FF2B5EF4-FFF2-40B4-BE49-F238E27FC236}">
                <a16:creationId xmlns:a16="http://schemas.microsoft.com/office/drawing/2014/main" id="{83E0CB91-E34E-47F6-A1CC-C836EBBC9F14}"/>
              </a:ext>
            </a:extLst>
          </p:cNvPr>
          <p:cNvSpPr txBox="1"/>
          <p:nvPr userDrawn="1"/>
        </p:nvSpPr>
        <p:spPr>
          <a:xfrm>
            <a:off x="0" y="6588088"/>
            <a:ext cx="12192000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pt" sz="800">
                <a:solidFill>
                  <a:srgbClr val="1D2242"/>
                </a:solidFill>
              </a:rPr>
              <a:t>© </a:t>
            </a:r>
            <a:r>
              <a:rPr lang="nb-NO" sz="800">
                <a:solidFill>
                  <a:srgbClr val="1D2242"/>
                </a:solidFill>
              </a:rPr>
              <a:t>Sensio AS</a:t>
            </a:r>
            <a:r>
              <a:rPr lang="pt" sz="800">
                <a:solidFill>
                  <a:srgbClr val="1D2242"/>
                </a:solidFill>
              </a:rPr>
              <a:t> 2024</a:t>
            </a:r>
            <a:endParaRPr lang="nb-NO" sz="800">
              <a:solidFill>
                <a:srgbClr val="1D2242"/>
              </a:solidFill>
            </a:endParaRPr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AD8346E9-AF92-4856-AEF1-01374AB2BED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35429" y="378904"/>
            <a:ext cx="1144801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097954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tel uten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288BC62-E531-1B42-81C2-5AC5073245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832498"/>
            <a:ext cx="8314944" cy="594665"/>
          </a:xfrm>
          <a:ln>
            <a:noFill/>
          </a:ln>
        </p:spPr>
        <p:txBody>
          <a:bodyPr anchor="b" anchorCtr="0"/>
          <a:lstStyle>
            <a:lvl1pPr>
              <a:defRPr lang="nb-NO" dirty="0"/>
            </a:lvl1pPr>
          </a:lstStyle>
          <a:p>
            <a:r>
              <a:rPr lang="nb-NO"/>
              <a:t>Klikk for å redigere tittel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A444A815-048E-634D-9DF2-9BC9236B9E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05421" y="384345"/>
            <a:ext cx="1351150" cy="351299"/>
          </a:xfrm>
          <a:prstGeom prst="rect">
            <a:avLst/>
          </a:prstGeom>
        </p:spPr>
      </p:pic>
      <p:sp>
        <p:nvSpPr>
          <p:cNvPr id="5" name="TextBox 8">
            <a:extLst>
              <a:ext uri="{FF2B5EF4-FFF2-40B4-BE49-F238E27FC236}">
                <a16:creationId xmlns:a16="http://schemas.microsoft.com/office/drawing/2014/main" id="{DE0C2514-98A3-452A-ADA3-A7892BBC9B10}"/>
              </a:ext>
            </a:extLst>
          </p:cNvPr>
          <p:cNvSpPr txBox="1"/>
          <p:nvPr userDrawn="1"/>
        </p:nvSpPr>
        <p:spPr>
          <a:xfrm>
            <a:off x="0" y="6588088"/>
            <a:ext cx="12192000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pt" sz="800">
                <a:solidFill>
                  <a:srgbClr val="1D2242"/>
                </a:solidFill>
              </a:rPr>
              <a:t>© </a:t>
            </a:r>
            <a:r>
              <a:rPr lang="nb-NO" sz="800">
                <a:solidFill>
                  <a:srgbClr val="1D2242"/>
                </a:solidFill>
              </a:rPr>
              <a:t>Sensio AS</a:t>
            </a:r>
            <a:r>
              <a:rPr lang="pt" sz="800">
                <a:solidFill>
                  <a:srgbClr val="1D2242"/>
                </a:solidFill>
              </a:rPr>
              <a:t> 2024</a:t>
            </a:r>
            <a:endParaRPr lang="nb-NO" sz="800">
              <a:solidFill>
                <a:srgbClr val="1D2242"/>
              </a:solidFill>
            </a:endParaRPr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79B2CA49-0F03-405A-AD43-048AD2A062E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5429" y="384345"/>
            <a:ext cx="1144801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745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82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m mø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E9642F2B-CEBF-D146-82AF-68221D831DB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05421" y="384345"/>
            <a:ext cx="1351150" cy="351299"/>
          </a:xfrm>
          <a:prstGeom prst="rect">
            <a:avLst/>
          </a:prstGeom>
        </p:spPr>
      </p:pic>
      <p:sp>
        <p:nvSpPr>
          <p:cNvPr id="3" name="Tittel 1">
            <a:extLst>
              <a:ext uri="{FF2B5EF4-FFF2-40B4-BE49-F238E27FC236}">
                <a16:creationId xmlns:a16="http://schemas.microsoft.com/office/drawing/2014/main" id="{D9E86B2B-FDD9-EF4D-8E33-2242CD74BE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832498"/>
            <a:ext cx="8314944" cy="594665"/>
          </a:xfrm>
          <a:ln>
            <a:noFill/>
          </a:ln>
        </p:spPr>
        <p:txBody>
          <a:bodyPr anchor="b" anchorCtr="0"/>
          <a:lstStyle>
            <a:lvl1pPr>
              <a:defRPr lang="nb-NO" dirty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</a:t>
            </a:r>
          </a:p>
        </p:txBody>
      </p:sp>
      <p:sp>
        <p:nvSpPr>
          <p:cNvPr id="5" name="TextBox 8">
            <a:extLst>
              <a:ext uri="{FF2B5EF4-FFF2-40B4-BE49-F238E27FC236}">
                <a16:creationId xmlns:a16="http://schemas.microsoft.com/office/drawing/2014/main" id="{18A9F7A2-9944-42F5-883A-6C8581DFFF0E}"/>
              </a:ext>
            </a:extLst>
          </p:cNvPr>
          <p:cNvSpPr txBox="1"/>
          <p:nvPr userDrawn="1"/>
        </p:nvSpPr>
        <p:spPr>
          <a:xfrm>
            <a:off x="0" y="6588088"/>
            <a:ext cx="12192000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pt" sz="800">
                <a:solidFill>
                  <a:schemeClr val="bg1"/>
                </a:solidFill>
              </a:rPr>
              <a:t>© </a:t>
            </a:r>
            <a:r>
              <a:rPr lang="nb-NO" sz="800">
                <a:solidFill>
                  <a:schemeClr val="bg1"/>
                </a:solidFill>
              </a:rPr>
              <a:t>Sensio AS</a:t>
            </a:r>
            <a:r>
              <a:rPr lang="pt" sz="800">
                <a:solidFill>
                  <a:schemeClr val="bg1"/>
                </a:solidFill>
              </a:rPr>
              <a:t> 2024</a:t>
            </a:r>
            <a:endParaRPr lang="nb-NO" sz="800">
              <a:solidFill>
                <a:schemeClr val="bg1"/>
              </a:solidFill>
            </a:endParaRPr>
          </a:p>
        </p:txBody>
      </p:sp>
      <p:pic>
        <p:nvPicPr>
          <p:cNvPr id="6" name="Bilde 5" descr="Et bilde som inneholder tegning&#10;&#10;Automatisk generert beskrivelse">
            <a:extLst>
              <a:ext uri="{FF2B5EF4-FFF2-40B4-BE49-F238E27FC236}">
                <a16:creationId xmlns:a16="http://schemas.microsoft.com/office/drawing/2014/main" id="{721279C1-5491-40E6-9CA0-5644E3E7BDF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5429" y="384345"/>
            <a:ext cx="1144801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7758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med sirkelbil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C7BF594-6122-A241-B1C9-2CDE6B8B6EE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73299" y="2626321"/>
            <a:ext cx="5314521" cy="1608795"/>
          </a:xfrm>
        </p:spPr>
        <p:txBody>
          <a:bodyPr anchor="t">
            <a:norm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E9642F2B-CEBF-D146-82AF-68221D831DB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05421" y="384345"/>
            <a:ext cx="1351150" cy="351299"/>
          </a:xfrm>
          <a:prstGeom prst="rect">
            <a:avLst/>
          </a:prstGeom>
        </p:spPr>
      </p:pic>
      <p:pic>
        <p:nvPicPr>
          <p:cNvPr id="8" name="Bilde 7">
            <a:extLst>
              <a:ext uri="{FF2B5EF4-FFF2-40B4-BE49-F238E27FC236}">
                <a16:creationId xmlns:a16="http://schemas.microsoft.com/office/drawing/2014/main" id="{32E01426-1BAA-BA47-A38D-6AC8B4F10B1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91000"/>
          </a:blip>
          <a:stretch>
            <a:fillRect/>
          </a:stretch>
        </p:blipFill>
        <p:spPr>
          <a:xfrm>
            <a:off x="1370252" y="1341679"/>
            <a:ext cx="3750390" cy="4174642"/>
          </a:xfrm>
          <a:prstGeom prst="rect">
            <a:avLst/>
          </a:prstGeom>
        </p:spPr>
      </p:pic>
      <p:pic>
        <p:nvPicPr>
          <p:cNvPr id="6" name="Bilde 5" descr="Et bilde som inneholder tegning&#10;&#10;Automatisk generert beskrivelse">
            <a:extLst>
              <a:ext uri="{FF2B5EF4-FFF2-40B4-BE49-F238E27FC236}">
                <a16:creationId xmlns:a16="http://schemas.microsoft.com/office/drawing/2014/main" id="{39ED9BC2-68AC-488E-A0C5-7A0BE5ADA7B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35429" y="384345"/>
            <a:ext cx="1144801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3780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ilde og tekst mø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E9642F2B-CEBF-D146-82AF-68221D831DB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34944" y="417740"/>
            <a:ext cx="1351150" cy="351299"/>
          </a:xfrm>
          <a:prstGeom prst="rect">
            <a:avLst/>
          </a:prstGeom>
        </p:spPr>
      </p:pic>
      <p:sp>
        <p:nvSpPr>
          <p:cNvPr id="10" name="Plassholder for bilde 3">
            <a:extLst>
              <a:ext uri="{FF2B5EF4-FFF2-40B4-BE49-F238E27FC236}">
                <a16:creationId xmlns:a16="http://schemas.microsoft.com/office/drawing/2014/main" id="{A8269EFD-8FB0-3948-A2FF-C60630AE27C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0"/>
            <a:ext cx="6096000" cy="6858000"/>
          </a:xfrm>
          <a:solidFill>
            <a:schemeClr val="bg1">
              <a:lumMod val="85000"/>
            </a:schemeClr>
          </a:solidFill>
        </p:spPr>
        <p:txBody>
          <a:bodyPr lIns="1440000" tIns="46800" rIns="1440000" anchor="ctr" anchorCtr="0"/>
          <a:lstStyle>
            <a:lvl1pPr marL="0" indent="0" algn="ctr">
              <a:buNone/>
              <a:defRPr/>
            </a:lvl1pPr>
          </a:lstStyle>
          <a:p>
            <a:r>
              <a:rPr lang="nb-NO"/>
              <a:t>Dobbelt klikk for </a:t>
            </a:r>
          </a:p>
          <a:p>
            <a:endParaRPr lang="nb-NO"/>
          </a:p>
          <a:p>
            <a:r>
              <a:rPr lang="nb-NO"/>
              <a:t>å legge inn bilde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981AD947-7098-E34D-BC7E-16B78E76C1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3089324"/>
            <a:ext cx="4828082" cy="3175286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44280054-65A5-DF43-AD07-CCA6EE6C36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257261"/>
            <a:ext cx="4828082" cy="594665"/>
          </a:xfrm>
          <a:ln>
            <a:noFill/>
          </a:ln>
        </p:spPr>
        <p:txBody>
          <a:bodyPr anchor="b" anchorCtr="0"/>
          <a:lstStyle>
            <a:lvl1pPr>
              <a:defRPr lang="nb-NO" dirty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C005593-3683-44C9-BC69-0A599979D0F8}"/>
              </a:ext>
            </a:extLst>
          </p:cNvPr>
          <p:cNvSpPr txBox="1"/>
          <p:nvPr userDrawn="1"/>
        </p:nvSpPr>
        <p:spPr>
          <a:xfrm>
            <a:off x="0" y="6588088"/>
            <a:ext cx="6096000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pt" sz="800">
                <a:solidFill>
                  <a:schemeClr val="bg1"/>
                </a:solidFill>
              </a:rPr>
              <a:t>© </a:t>
            </a:r>
            <a:r>
              <a:rPr lang="nb-NO" sz="800">
                <a:solidFill>
                  <a:schemeClr val="bg1"/>
                </a:solidFill>
              </a:rPr>
              <a:t>Sensio AS</a:t>
            </a:r>
            <a:r>
              <a:rPr lang="pt" sz="800">
                <a:solidFill>
                  <a:schemeClr val="bg1"/>
                </a:solidFill>
              </a:rPr>
              <a:t> 2024</a:t>
            </a:r>
            <a:endParaRPr lang="nb-NO" sz="800">
              <a:solidFill>
                <a:schemeClr val="bg1"/>
              </a:solidFill>
            </a:endParaRP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B104CCB7-8735-4ECD-917F-A58EB430B39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612255" y="416790"/>
            <a:ext cx="1144801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667560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ilde og tekst mø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E9642F2B-CEBF-D146-82AF-68221D831DB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05421" y="384345"/>
            <a:ext cx="1351150" cy="351299"/>
          </a:xfrm>
          <a:prstGeom prst="rect">
            <a:avLst/>
          </a:prstGeom>
        </p:spPr>
      </p:pic>
      <p:sp>
        <p:nvSpPr>
          <p:cNvPr id="10" name="Plassholder for bilde 3">
            <a:extLst>
              <a:ext uri="{FF2B5EF4-FFF2-40B4-BE49-F238E27FC236}">
                <a16:creationId xmlns:a16="http://schemas.microsoft.com/office/drawing/2014/main" id="{A8269EFD-8FB0-3948-A2FF-C60630AE27C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6000" cy="6858000"/>
          </a:xfrm>
          <a:solidFill>
            <a:schemeClr val="bg1">
              <a:lumMod val="85000"/>
            </a:schemeClr>
          </a:solidFill>
        </p:spPr>
        <p:txBody>
          <a:bodyPr lIns="1440000" tIns="46800" rIns="1440000" anchor="ctr" anchorCtr="0"/>
          <a:lstStyle>
            <a:lvl1pPr marL="0" indent="0" algn="ctr">
              <a:buNone/>
              <a:defRPr/>
            </a:lvl1pPr>
          </a:lstStyle>
          <a:p>
            <a:r>
              <a:rPr lang="nb-NO"/>
              <a:t>Dobbelt klikk for </a:t>
            </a:r>
          </a:p>
          <a:p>
            <a:endParaRPr lang="nb-NO"/>
          </a:p>
          <a:p>
            <a:r>
              <a:rPr lang="nb-NO"/>
              <a:t>å legge inn bilde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981AD947-7098-E34D-BC7E-16B78E76C1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73253" y="3089324"/>
            <a:ext cx="4828082" cy="3175286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44280054-65A5-DF43-AD07-CCA6EE6C36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73253" y="2257261"/>
            <a:ext cx="4828082" cy="594665"/>
          </a:xfrm>
          <a:ln>
            <a:noFill/>
          </a:ln>
        </p:spPr>
        <p:txBody>
          <a:bodyPr anchor="b" anchorCtr="0"/>
          <a:lstStyle>
            <a:lvl1pPr>
              <a:defRPr lang="nb-NO" dirty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</a:t>
            </a:r>
          </a:p>
        </p:txBody>
      </p:sp>
      <p:sp>
        <p:nvSpPr>
          <p:cNvPr id="12" name="TextBox 8">
            <a:extLst>
              <a:ext uri="{FF2B5EF4-FFF2-40B4-BE49-F238E27FC236}">
                <a16:creationId xmlns:a16="http://schemas.microsoft.com/office/drawing/2014/main" id="{B3F10E66-8931-4D4F-BE8E-360C42910193}"/>
              </a:ext>
            </a:extLst>
          </p:cNvPr>
          <p:cNvSpPr txBox="1"/>
          <p:nvPr userDrawn="1"/>
        </p:nvSpPr>
        <p:spPr>
          <a:xfrm>
            <a:off x="6096000" y="6588088"/>
            <a:ext cx="6096000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pt" sz="800">
                <a:solidFill>
                  <a:schemeClr val="bg1"/>
                </a:solidFill>
              </a:rPr>
              <a:t>© </a:t>
            </a:r>
            <a:r>
              <a:rPr lang="nb-NO" sz="800">
                <a:solidFill>
                  <a:schemeClr val="bg1"/>
                </a:solidFill>
              </a:rPr>
              <a:t>Sensio AS</a:t>
            </a:r>
            <a:r>
              <a:rPr lang="pt" sz="800">
                <a:solidFill>
                  <a:schemeClr val="bg1"/>
                </a:solidFill>
              </a:rPr>
              <a:t> 2024</a:t>
            </a:r>
            <a:endParaRPr lang="nb-NO" sz="800">
              <a:solidFill>
                <a:schemeClr val="bg1"/>
              </a:solidFill>
            </a:endParaRP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819F2929-CC98-422A-920C-8822C1651BE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5429" y="378904"/>
            <a:ext cx="1144801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339471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og tekst ly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ssholder for bilde 3">
            <a:extLst>
              <a:ext uri="{FF2B5EF4-FFF2-40B4-BE49-F238E27FC236}">
                <a16:creationId xmlns:a16="http://schemas.microsoft.com/office/drawing/2014/main" id="{A8269EFD-8FB0-3948-A2FF-C60630AE27C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0"/>
            <a:ext cx="6096000" cy="6858000"/>
          </a:xfrm>
          <a:solidFill>
            <a:schemeClr val="bg1">
              <a:lumMod val="85000"/>
            </a:schemeClr>
          </a:solidFill>
        </p:spPr>
        <p:txBody>
          <a:bodyPr lIns="1440000" tIns="46800" rIns="1440000" anchor="ctr" anchorCtr="0"/>
          <a:lstStyle>
            <a:lvl1pPr marL="0" indent="0" algn="ctr">
              <a:buNone/>
              <a:defRPr/>
            </a:lvl1pPr>
          </a:lstStyle>
          <a:p>
            <a:r>
              <a:rPr lang="nb-NO"/>
              <a:t>Dobbelt klikk for </a:t>
            </a:r>
          </a:p>
          <a:p>
            <a:endParaRPr lang="nb-NO"/>
          </a:p>
          <a:p>
            <a:r>
              <a:rPr lang="nb-NO"/>
              <a:t>å legge inn bilde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981AD947-7098-E34D-BC7E-16B78E76C1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3089324"/>
            <a:ext cx="4828082" cy="3175286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44280054-65A5-DF43-AD07-CCA6EE6C36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257261"/>
            <a:ext cx="4828082" cy="594665"/>
          </a:xfrm>
          <a:ln>
            <a:noFill/>
          </a:ln>
        </p:spPr>
        <p:txBody>
          <a:bodyPr anchor="b" anchorCtr="0"/>
          <a:lstStyle>
            <a:lvl1pPr>
              <a:defRPr lang="nb-NO" dirty="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01823FA-72FA-41E0-BAF6-72B0D131A0CE}"/>
              </a:ext>
            </a:extLst>
          </p:cNvPr>
          <p:cNvSpPr txBox="1"/>
          <p:nvPr userDrawn="1"/>
        </p:nvSpPr>
        <p:spPr>
          <a:xfrm>
            <a:off x="0" y="6588088"/>
            <a:ext cx="6096000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pt" sz="800">
                <a:solidFill>
                  <a:srgbClr val="1D2242"/>
                </a:solidFill>
              </a:rPr>
              <a:t>© </a:t>
            </a:r>
            <a:r>
              <a:rPr lang="nb-NO" sz="800">
                <a:solidFill>
                  <a:srgbClr val="1D2242"/>
                </a:solidFill>
              </a:rPr>
              <a:t>Sensio AS</a:t>
            </a:r>
            <a:r>
              <a:rPr lang="pt" sz="800">
                <a:solidFill>
                  <a:srgbClr val="1D2242"/>
                </a:solidFill>
              </a:rPr>
              <a:t> 2024</a:t>
            </a:r>
            <a:endParaRPr lang="nb-NO" sz="800">
              <a:solidFill>
                <a:srgbClr val="1D2242"/>
              </a:solidFill>
            </a:endParaRPr>
          </a:p>
        </p:txBody>
      </p:sp>
      <p:pic>
        <p:nvPicPr>
          <p:cNvPr id="12" name="Bilde 11">
            <a:extLst>
              <a:ext uri="{FF2B5EF4-FFF2-40B4-BE49-F238E27FC236}">
                <a16:creationId xmlns:a16="http://schemas.microsoft.com/office/drawing/2014/main" id="{128A3840-C298-4C24-9904-C7203ED93D8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2877" y="384345"/>
            <a:ext cx="1351150" cy="351299"/>
          </a:xfrm>
          <a:prstGeom prst="rect">
            <a:avLst/>
          </a:prstGeom>
        </p:spPr>
      </p:pic>
      <p:pic>
        <p:nvPicPr>
          <p:cNvPr id="7" name="Bilde 6">
            <a:extLst>
              <a:ext uri="{FF2B5EF4-FFF2-40B4-BE49-F238E27FC236}">
                <a16:creationId xmlns:a16="http://schemas.microsoft.com/office/drawing/2014/main" id="{03C9CFDD-AC52-4F61-9F6E-BE9A591C52E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524322" y="378904"/>
            <a:ext cx="1144801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211123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, tekst og symbol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C7BF594-6122-A241-B1C9-2CDE6B8B6E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66512" y="2499688"/>
            <a:ext cx="3715688" cy="940067"/>
          </a:xfrm>
        </p:spPr>
        <p:txBody>
          <a:bodyPr anchor="b" anchorCtr="0">
            <a:normAutofit/>
          </a:bodyPr>
          <a:lstStyle>
            <a:lvl1pPr algn="l">
              <a:defRPr sz="2800">
                <a:solidFill>
                  <a:srgbClr val="000000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9B80825F-FD71-8D43-902B-E41AF655E9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10452856" y="2461317"/>
            <a:ext cx="3262936" cy="3608423"/>
          </a:xfrm>
          <a:prstGeom prst="rect">
            <a:avLst/>
          </a:prstGeom>
        </p:spPr>
      </p:pic>
      <p:pic>
        <p:nvPicPr>
          <p:cNvPr id="10" name="Bilde 9">
            <a:extLst>
              <a:ext uri="{FF2B5EF4-FFF2-40B4-BE49-F238E27FC236}">
                <a16:creationId xmlns:a16="http://schemas.microsoft.com/office/drawing/2014/main" id="{7DC37114-5FCE-6140-9EBB-67E2A33155C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05421" y="384345"/>
            <a:ext cx="1351150" cy="351299"/>
          </a:xfrm>
          <a:prstGeom prst="rect">
            <a:avLst/>
          </a:prstGeom>
        </p:spPr>
      </p:pic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D02B77F4-3F8F-024E-9BC8-8FEBBDE4B5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66513" y="3692143"/>
            <a:ext cx="3715687" cy="233068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7" name="Plassholder for bilde 3">
            <a:extLst>
              <a:ext uri="{FF2B5EF4-FFF2-40B4-BE49-F238E27FC236}">
                <a16:creationId xmlns:a16="http://schemas.microsoft.com/office/drawing/2014/main" id="{B0971B5C-DBCC-BE4E-A15D-5FED12431D8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600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nb-NO"/>
              <a:t>Dobbelt klikk på bildeikonet for å legge inn bilde</a:t>
            </a:r>
          </a:p>
        </p:txBody>
      </p:sp>
      <p:sp>
        <p:nvSpPr>
          <p:cNvPr id="11" name="TextBox 8">
            <a:extLst>
              <a:ext uri="{FF2B5EF4-FFF2-40B4-BE49-F238E27FC236}">
                <a16:creationId xmlns:a16="http://schemas.microsoft.com/office/drawing/2014/main" id="{CF35834E-6794-4947-AE63-350038484233}"/>
              </a:ext>
            </a:extLst>
          </p:cNvPr>
          <p:cNvSpPr txBox="1"/>
          <p:nvPr userDrawn="1"/>
        </p:nvSpPr>
        <p:spPr>
          <a:xfrm>
            <a:off x="6096000" y="6588088"/>
            <a:ext cx="6096000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pt" sz="800">
                <a:solidFill>
                  <a:srgbClr val="1D2242"/>
                </a:solidFill>
              </a:rPr>
              <a:t>© </a:t>
            </a:r>
            <a:r>
              <a:rPr lang="nb-NO" sz="800">
                <a:solidFill>
                  <a:srgbClr val="1D2242"/>
                </a:solidFill>
              </a:rPr>
              <a:t>Sensio AS</a:t>
            </a:r>
            <a:r>
              <a:rPr lang="pt" sz="800">
                <a:solidFill>
                  <a:srgbClr val="1D2242"/>
                </a:solidFill>
              </a:rPr>
              <a:t> 2024</a:t>
            </a:r>
            <a:endParaRPr lang="nb-NO" sz="800">
              <a:solidFill>
                <a:srgbClr val="1D2242"/>
              </a:solidFill>
            </a:endParaRP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B0366B17-16E6-47B0-AD63-109A7D684CB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35429" y="411644"/>
            <a:ext cx="1144801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607985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bilde 3">
            <a:extLst>
              <a:ext uri="{FF2B5EF4-FFF2-40B4-BE49-F238E27FC236}">
                <a16:creationId xmlns:a16="http://schemas.microsoft.com/office/drawing/2014/main" id="{0CB950BF-625E-ED47-819E-CE650C771B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nb-NO"/>
              <a:t>Dobbelt klikk på</a:t>
            </a:r>
          </a:p>
          <a:p>
            <a:r>
              <a:rPr lang="nb-NO"/>
              <a:t> </a:t>
            </a:r>
          </a:p>
          <a:p>
            <a:r>
              <a:rPr lang="nb-NO"/>
              <a:t>bildeikonet for å legge inn bilde</a:t>
            </a:r>
          </a:p>
        </p:txBody>
      </p:sp>
      <p:sp>
        <p:nvSpPr>
          <p:cNvPr id="6" name="Tittel 1">
            <a:extLst>
              <a:ext uri="{FF2B5EF4-FFF2-40B4-BE49-F238E27FC236}">
                <a16:creationId xmlns:a16="http://schemas.microsoft.com/office/drawing/2014/main" id="{8AE15849-BA89-9F42-BD94-15D6F3A45F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1228" y="3372293"/>
            <a:ext cx="5052216" cy="646684"/>
          </a:xfrm>
        </p:spPr>
        <p:txBody>
          <a:bodyPr anchor="b" anchorCtr="0"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innhold 2">
            <a:extLst>
              <a:ext uri="{FF2B5EF4-FFF2-40B4-BE49-F238E27FC236}">
                <a16:creationId xmlns:a16="http://schemas.microsoft.com/office/drawing/2014/main" id="{24E0732A-6A22-F547-ABEF-6947DD7079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01228" y="4270555"/>
            <a:ext cx="5052216" cy="2191892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8" name="TextBox 8">
            <a:extLst>
              <a:ext uri="{FF2B5EF4-FFF2-40B4-BE49-F238E27FC236}">
                <a16:creationId xmlns:a16="http://schemas.microsoft.com/office/drawing/2014/main" id="{D8D0B40A-5712-4522-AE21-9069E4B071F0}"/>
              </a:ext>
            </a:extLst>
          </p:cNvPr>
          <p:cNvSpPr txBox="1"/>
          <p:nvPr userDrawn="1"/>
        </p:nvSpPr>
        <p:spPr>
          <a:xfrm>
            <a:off x="0" y="6588088"/>
            <a:ext cx="12192000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pt" sz="800">
                <a:solidFill>
                  <a:srgbClr val="1D2242"/>
                </a:solidFill>
              </a:rPr>
              <a:t>© </a:t>
            </a:r>
            <a:r>
              <a:rPr lang="nb-NO" sz="800">
                <a:solidFill>
                  <a:srgbClr val="1D2242"/>
                </a:solidFill>
              </a:rPr>
              <a:t>Sensio AS</a:t>
            </a:r>
            <a:r>
              <a:rPr lang="pt" sz="800">
                <a:solidFill>
                  <a:srgbClr val="1D2242"/>
                </a:solidFill>
              </a:rPr>
              <a:t> 2024</a:t>
            </a:r>
            <a:endParaRPr lang="nb-NO" sz="800">
              <a:solidFill>
                <a:srgbClr val="1D22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259628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tat mø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C7BF594-6122-A241-B1C9-2CDE6B8B6EE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8200" y="2626321"/>
            <a:ext cx="8049768" cy="802679"/>
          </a:xfrm>
        </p:spPr>
        <p:txBody>
          <a:bodyPr anchor="t">
            <a:norm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sitat. Klikk for å redigere sitat. Klikk for å redigere sitat.</a:t>
            </a:r>
            <a:br>
              <a:rPr lang="nb-NO"/>
            </a:br>
            <a:br>
              <a:rPr lang="nb-NO"/>
            </a:br>
            <a:br>
              <a:rPr lang="nb-NO"/>
            </a:br>
            <a:endParaRPr lang="nb-NO"/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9B80825F-FD71-8D43-902B-E41AF655E9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7695145" y="5135293"/>
            <a:ext cx="3115533" cy="3445413"/>
          </a:xfrm>
          <a:prstGeom prst="rect">
            <a:avLst/>
          </a:prstGeom>
        </p:spPr>
      </p:pic>
      <p:pic>
        <p:nvPicPr>
          <p:cNvPr id="11" name="Bilde 10">
            <a:extLst>
              <a:ext uri="{FF2B5EF4-FFF2-40B4-BE49-F238E27FC236}">
                <a16:creationId xmlns:a16="http://schemas.microsoft.com/office/drawing/2014/main" id="{E9642F2B-CEBF-D146-82AF-68221D831DB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05421" y="384345"/>
            <a:ext cx="1351150" cy="351299"/>
          </a:xfrm>
          <a:prstGeom prst="rect">
            <a:avLst/>
          </a:prstGeom>
        </p:spPr>
      </p:pic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D7EF3741-5C78-4E4D-B941-29F22096529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3557017"/>
            <a:ext cx="5718048" cy="365126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Navn</a:t>
            </a:r>
          </a:p>
        </p:txBody>
      </p:sp>
      <p:sp>
        <p:nvSpPr>
          <p:cNvPr id="7" name="TextBox 8">
            <a:extLst>
              <a:ext uri="{FF2B5EF4-FFF2-40B4-BE49-F238E27FC236}">
                <a16:creationId xmlns:a16="http://schemas.microsoft.com/office/drawing/2014/main" id="{21426BA3-A540-45D0-BD58-D16ED2304D90}"/>
              </a:ext>
            </a:extLst>
          </p:cNvPr>
          <p:cNvSpPr txBox="1"/>
          <p:nvPr userDrawn="1"/>
        </p:nvSpPr>
        <p:spPr>
          <a:xfrm>
            <a:off x="0" y="6588088"/>
            <a:ext cx="12192000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pt" sz="800">
                <a:solidFill>
                  <a:schemeClr val="bg1"/>
                </a:solidFill>
              </a:rPr>
              <a:t>© </a:t>
            </a:r>
            <a:r>
              <a:rPr lang="nb-NO" sz="800">
                <a:solidFill>
                  <a:schemeClr val="bg1"/>
                </a:solidFill>
              </a:rPr>
              <a:t>Sensio AS</a:t>
            </a:r>
            <a:r>
              <a:rPr lang="pt" sz="800">
                <a:solidFill>
                  <a:schemeClr val="bg1"/>
                </a:solidFill>
              </a:rPr>
              <a:t> 2024</a:t>
            </a:r>
            <a:endParaRPr lang="nb-NO" sz="800">
              <a:solidFill>
                <a:schemeClr val="bg1"/>
              </a:solidFill>
            </a:endParaRPr>
          </a:p>
        </p:txBody>
      </p:sp>
      <p:pic>
        <p:nvPicPr>
          <p:cNvPr id="8" name="Bilde 7" descr="Et bilde som inneholder tegning&#10;&#10;Automatisk generert beskrivelse">
            <a:extLst>
              <a:ext uri="{FF2B5EF4-FFF2-40B4-BE49-F238E27FC236}">
                <a16:creationId xmlns:a16="http://schemas.microsoft.com/office/drawing/2014/main" id="{29FC63EC-4E79-42D1-BC64-2548BAEE9C0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35429" y="384345"/>
            <a:ext cx="1144801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171826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ta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C7BF594-6122-A241-B1C9-2CDE6B8B6EE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8200" y="2626321"/>
            <a:ext cx="8049768" cy="802679"/>
          </a:xfrm>
        </p:spPr>
        <p:txBody>
          <a:bodyPr anchor="t">
            <a:normAutofit/>
          </a:bodyPr>
          <a:lstStyle>
            <a:lvl1pPr algn="l">
              <a:defRPr sz="2800">
                <a:solidFill>
                  <a:srgbClr val="000000"/>
                </a:solidFill>
              </a:defRPr>
            </a:lvl1pPr>
          </a:lstStyle>
          <a:p>
            <a:r>
              <a:rPr lang="nb-NO"/>
              <a:t>Klikk for å redigere sitat. Klikk for å redigere sitat. Klikk for å redigere sitat.</a:t>
            </a:r>
            <a:br>
              <a:rPr lang="nb-NO"/>
            </a:br>
            <a:br>
              <a:rPr lang="nb-NO"/>
            </a:br>
            <a:br>
              <a:rPr lang="nb-NO"/>
            </a:br>
            <a:endParaRPr lang="nb-NO"/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9B80825F-FD71-8D43-902B-E41AF655E9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7695145" y="5135293"/>
            <a:ext cx="3115533" cy="3445412"/>
          </a:xfrm>
          <a:prstGeom prst="rect">
            <a:avLst/>
          </a:prstGeom>
        </p:spPr>
      </p:pic>
      <p:pic>
        <p:nvPicPr>
          <p:cNvPr id="11" name="Bilde 10">
            <a:extLst>
              <a:ext uri="{FF2B5EF4-FFF2-40B4-BE49-F238E27FC236}">
                <a16:creationId xmlns:a16="http://schemas.microsoft.com/office/drawing/2014/main" id="{E9642F2B-CEBF-D146-82AF-68221D831DB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05421" y="384345"/>
            <a:ext cx="1351150" cy="351299"/>
          </a:xfrm>
          <a:prstGeom prst="rect">
            <a:avLst/>
          </a:prstGeom>
        </p:spPr>
      </p:pic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D7EF3741-5C78-4E4D-B941-29F22096529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3557017"/>
            <a:ext cx="5718048" cy="365126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</a:lstStyle>
          <a:p>
            <a:r>
              <a:rPr lang="nb-NO"/>
              <a:t>Navn</a:t>
            </a:r>
          </a:p>
        </p:txBody>
      </p:sp>
      <p:sp>
        <p:nvSpPr>
          <p:cNvPr id="7" name="TextBox 8">
            <a:extLst>
              <a:ext uri="{FF2B5EF4-FFF2-40B4-BE49-F238E27FC236}">
                <a16:creationId xmlns:a16="http://schemas.microsoft.com/office/drawing/2014/main" id="{28B84E6A-EB90-4359-A245-E85A7681AC21}"/>
              </a:ext>
            </a:extLst>
          </p:cNvPr>
          <p:cNvSpPr txBox="1"/>
          <p:nvPr userDrawn="1"/>
        </p:nvSpPr>
        <p:spPr>
          <a:xfrm>
            <a:off x="0" y="6588088"/>
            <a:ext cx="12192000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pt" sz="800">
                <a:solidFill>
                  <a:srgbClr val="1D2242"/>
                </a:solidFill>
              </a:rPr>
              <a:t>© </a:t>
            </a:r>
            <a:r>
              <a:rPr lang="nb-NO" sz="800">
                <a:solidFill>
                  <a:srgbClr val="1D2242"/>
                </a:solidFill>
              </a:rPr>
              <a:t>Sensio AS</a:t>
            </a:r>
            <a:r>
              <a:rPr lang="pt" sz="800">
                <a:solidFill>
                  <a:srgbClr val="1D2242"/>
                </a:solidFill>
              </a:rPr>
              <a:t> 2024</a:t>
            </a:r>
            <a:endParaRPr lang="nb-NO" sz="800">
              <a:solidFill>
                <a:srgbClr val="1D2242"/>
              </a:solidFill>
            </a:endParaRP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147A1727-C78D-4D95-BAC6-212586383BC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35429" y="378904"/>
            <a:ext cx="1144801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524396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esirkel,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>
            <a:extLst>
              <a:ext uri="{FF2B5EF4-FFF2-40B4-BE49-F238E27FC236}">
                <a16:creationId xmlns:a16="http://schemas.microsoft.com/office/drawing/2014/main" id="{A444A815-048E-634D-9DF2-9BC9236B9E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05421" y="384345"/>
            <a:ext cx="1351150" cy="351299"/>
          </a:xfrm>
          <a:prstGeom prst="rect">
            <a:avLst/>
          </a:prstGeom>
        </p:spPr>
      </p:pic>
      <p:pic>
        <p:nvPicPr>
          <p:cNvPr id="12" name="Bilde 11">
            <a:extLst>
              <a:ext uri="{FF2B5EF4-FFF2-40B4-BE49-F238E27FC236}">
                <a16:creationId xmlns:a16="http://schemas.microsoft.com/office/drawing/2014/main" id="{FB18F1DB-2A6E-2945-BAF5-6C0E35D879B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038599" y="1080262"/>
            <a:ext cx="913686" cy="913686"/>
          </a:xfrm>
          <a:prstGeom prst="rect">
            <a:avLst/>
          </a:prstGeom>
        </p:spPr>
      </p:pic>
      <p:sp>
        <p:nvSpPr>
          <p:cNvPr id="15" name="Tittel 1">
            <a:extLst>
              <a:ext uri="{FF2B5EF4-FFF2-40B4-BE49-F238E27FC236}">
                <a16:creationId xmlns:a16="http://schemas.microsoft.com/office/drawing/2014/main" id="{0D2A47CE-DDC5-1641-8D53-0145F1F3B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92656" y="2257261"/>
            <a:ext cx="5701800" cy="594665"/>
          </a:xfrm>
        </p:spPr>
        <p:txBody>
          <a:bodyPr anchor="b" anchorCtr="0"/>
          <a:lstStyle>
            <a:lvl1pPr>
              <a:defRPr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6" name="Plassholder for innhold 2">
            <a:extLst>
              <a:ext uri="{FF2B5EF4-FFF2-40B4-BE49-F238E27FC236}">
                <a16:creationId xmlns:a16="http://schemas.microsoft.com/office/drawing/2014/main" id="{94C9FB78-03B8-9F44-B746-689C23BE81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92656" y="2894454"/>
            <a:ext cx="5701800" cy="2645791"/>
          </a:xfrm>
        </p:spPr>
        <p:txBody>
          <a:bodyPr/>
          <a:lstStyle>
            <a:lvl1pPr marL="0" indent="0">
              <a:buNone/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226EEE45-BA0F-FD47-A5BA-079D8CB0344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47644" y="1930448"/>
            <a:ext cx="3770774" cy="3847290"/>
          </a:xfrm>
          <a:custGeom>
            <a:avLst/>
            <a:gdLst>
              <a:gd name="connsiteX0" fmla="*/ 1885387 w 3770774"/>
              <a:gd name="connsiteY0" fmla="*/ 0 h 3847290"/>
              <a:gd name="connsiteX1" fmla="*/ 3770774 w 3770774"/>
              <a:gd name="connsiteY1" fmla="*/ 1923645 h 3847290"/>
              <a:gd name="connsiteX2" fmla="*/ 1885387 w 3770774"/>
              <a:gd name="connsiteY2" fmla="*/ 3847290 h 3847290"/>
              <a:gd name="connsiteX3" fmla="*/ 0 w 3770774"/>
              <a:gd name="connsiteY3" fmla="*/ 1923645 h 3847290"/>
              <a:gd name="connsiteX4" fmla="*/ 1885387 w 3770774"/>
              <a:gd name="connsiteY4" fmla="*/ 0 h 38472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70774" h="3847290">
                <a:moveTo>
                  <a:pt x="1885387" y="0"/>
                </a:moveTo>
                <a:cubicBezTo>
                  <a:pt x="2926657" y="0"/>
                  <a:pt x="3770774" y="861245"/>
                  <a:pt x="3770774" y="1923645"/>
                </a:cubicBezTo>
                <a:cubicBezTo>
                  <a:pt x="3770774" y="2986045"/>
                  <a:pt x="2926657" y="3847290"/>
                  <a:pt x="1885387" y="3847290"/>
                </a:cubicBezTo>
                <a:cubicBezTo>
                  <a:pt x="844117" y="3847290"/>
                  <a:pt x="0" y="2986045"/>
                  <a:pt x="0" y="1923645"/>
                </a:cubicBezTo>
                <a:cubicBezTo>
                  <a:pt x="0" y="861245"/>
                  <a:pt x="844117" y="0"/>
                  <a:pt x="1885387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720000" tIns="46800" rIns="720000" anchor="ctr" anchorCtr="0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Dobbeltklikk for å legge til bild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2F0AF5E-2606-4E0F-8863-9457A7A8A1CB}"/>
              </a:ext>
            </a:extLst>
          </p:cNvPr>
          <p:cNvSpPr txBox="1"/>
          <p:nvPr userDrawn="1"/>
        </p:nvSpPr>
        <p:spPr>
          <a:xfrm>
            <a:off x="0" y="6588088"/>
            <a:ext cx="12192000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pt" sz="800">
                <a:solidFill>
                  <a:srgbClr val="1D2242"/>
                </a:solidFill>
              </a:rPr>
              <a:t>© </a:t>
            </a:r>
            <a:r>
              <a:rPr lang="nb-NO" sz="800">
                <a:solidFill>
                  <a:srgbClr val="1D2242"/>
                </a:solidFill>
              </a:rPr>
              <a:t>Sensio AS</a:t>
            </a:r>
            <a:r>
              <a:rPr lang="pt" sz="800">
                <a:solidFill>
                  <a:srgbClr val="1D2242"/>
                </a:solidFill>
              </a:rPr>
              <a:t> 2024</a:t>
            </a:r>
            <a:endParaRPr lang="nb-NO" sz="800">
              <a:solidFill>
                <a:srgbClr val="1D2242"/>
              </a:solidFill>
            </a:endParaRP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191B80FF-F068-4B38-9D65-C088988195D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35429" y="378904"/>
            <a:ext cx="1144801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070100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om mø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E9642F2B-CEBF-D146-82AF-68221D831DB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05421" y="384345"/>
            <a:ext cx="1351150" cy="351299"/>
          </a:xfrm>
          <a:prstGeom prst="rect">
            <a:avLst/>
          </a:prstGeom>
        </p:spPr>
      </p:pic>
      <p:sp>
        <p:nvSpPr>
          <p:cNvPr id="4" name="TextBox 8">
            <a:extLst>
              <a:ext uri="{FF2B5EF4-FFF2-40B4-BE49-F238E27FC236}">
                <a16:creationId xmlns:a16="http://schemas.microsoft.com/office/drawing/2014/main" id="{F404EB62-65D4-4A1B-87DB-8C819503E7AB}"/>
              </a:ext>
            </a:extLst>
          </p:cNvPr>
          <p:cNvSpPr txBox="1"/>
          <p:nvPr userDrawn="1"/>
        </p:nvSpPr>
        <p:spPr>
          <a:xfrm>
            <a:off x="0" y="6588088"/>
            <a:ext cx="12192000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pt" sz="800">
                <a:solidFill>
                  <a:schemeClr val="bg1"/>
                </a:solidFill>
              </a:rPr>
              <a:t>© </a:t>
            </a:r>
            <a:r>
              <a:rPr lang="nb-NO" sz="800">
                <a:solidFill>
                  <a:schemeClr val="bg1"/>
                </a:solidFill>
              </a:rPr>
              <a:t>Sensio AS</a:t>
            </a:r>
            <a:r>
              <a:rPr lang="pt" sz="800">
                <a:solidFill>
                  <a:schemeClr val="bg1"/>
                </a:solidFill>
              </a:rPr>
              <a:t> 2024</a:t>
            </a:r>
            <a:endParaRPr lang="nb-NO" sz="800">
              <a:solidFill>
                <a:schemeClr val="bg1"/>
              </a:solidFill>
            </a:endParaRPr>
          </a:p>
        </p:txBody>
      </p:sp>
      <p:pic>
        <p:nvPicPr>
          <p:cNvPr id="3" name="Bilde 2" descr="Et bilde som inneholder tegning&#10;&#10;Automatisk generert beskrivelse">
            <a:extLst>
              <a:ext uri="{FF2B5EF4-FFF2-40B4-BE49-F238E27FC236}">
                <a16:creationId xmlns:a16="http://schemas.microsoft.com/office/drawing/2014/main" id="{17F07161-F3B4-413A-98DB-0A363B17055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5429" y="384345"/>
            <a:ext cx="1144801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05450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59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m l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>
            <a:extLst>
              <a:ext uri="{FF2B5EF4-FFF2-40B4-BE49-F238E27FC236}">
                <a16:creationId xmlns:a16="http://schemas.microsoft.com/office/drawing/2014/main" id="{A444A815-048E-634D-9DF2-9BC9236B9E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05421" y="384345"/>
            <a:ext cx="1351150" cy="351299"/>
          </a:xfrm>
          <a:prstGeom prst="rect">
            <a:avLst/>
          </a:prstGeom>
        </p:spPr>
      </p:pic>
      <p:sp>
        <p:nvSpPr>
          <p:cNvPr id="4" name="TextBox 8">
            <a:extLst>
              <a:ext uri="{FF2B5EF4-FFF2-40B4-BE49-F238E27FC236}">
                <a16:creationId xmlns:a16="http://schemas.microsoft.com/office/drawing/2014/main" id="{BF6A3FA5-8B5E-4095-A0FA-04A043712209}"/>
              </a:ext>
            </a:extLst>
          </p:cNvPr>
          <p:cNvSpPr txBox="1"/>
          <p:nvPr userDrawn="1"/>
        </p:nvSpPr>
        <p:spPr>
          <a:xfrm>
            <a:off x="0" y="6588088"/>
            <a:ext cx="12192000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pt" sz="800">
                <a:solidFill>
                  <a:srgbClr val="1D2242"/>
                </a:solidFill>
              </a:rPr>
              <a:t>© </a:t>
            </a:r>
            <a:r>
              <a:rPr lang="nb-NO" sz="800">
                <a:solidFill>
                  <a:srgbClr val="1D2242"/>
                </a:solidFill>
              </a:rPr>
              <a:t>Sensio AS</a:t>
            </a:r>
            <a:r>
              <a:rPr lang="pt" sz="800">
                <a:solidFill>
                  <a:srgbClr val="1D2242"/>
                </a:solidFill>
              </a:rPr>
              <a:t> 2024</a:t>
            </a:r>
            <a:endParaRPr lang="nb-NO" sz="800">
              <a:solidFill>
                <a:srgbClr val="1D2242"/>
              </a:solidFill>
            </a:endParaRPr>
          </a:p>
        </p:txBody>
      </p:sp>
      <p:pic>
        <p:nvPicPr>
          <p:cNvPr id="3" name="Bilde 2">
            <a:extLst>
              <a:ext uri="{FF2B5EF4-FFF2-40B4-BE49-F238E27FC236}">
                <a16:creationId xmlns:a16="http://schemas.microsoft.com/office/drawing/2014/main" id="{C1B974A2-1A3D-4F3A-AF0A-2FB382D5A90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5429" y="384345"/>
            <a:ext cx="1144801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71827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59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med venstrebil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C7BF594-6122-A241-B1C9-2CDE6B8B6EE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66512" y="2542217"/>
            <a:ext cx="3715688" cy="2641674"/>
          </a:xfrm>
        </p:spPr>
        <p:txBody>
          <a:bodyPr anchor="t">
            <a:norm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</a:t>
            </a:r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9B80825F-FD71-8D43-902B-E41AF655E9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10452856" y="2461317"/>
            <a:ext cx="3262936" cy="3608424"/>
          </a:xfrm>
          <a:prstGeom prst="rect">
            <a:avLst/>
          </a:prstGeom>
        </p:spPr>
      </p:pic>
      <p:pic>
        <p:nvPicPr>
          <p:cNvPr id="11" name="Bilde 10">
            <a:extLst>
              <a:ext uri="{FF2B5EF4-FFF2-40B4-BE49-F238E27FC236}">
                <a16:creationId xmlns:a16="http://schemas.microsoft.com/office/drawing/2014/main" id="{E9642F2B-CEBF-D146-82AF-68221D831DB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05421" y="384345"/>
            <a:ext cx="1351150" cy="351299"/>
          </a:xfrm>
          <a:prstGeom prst="rect">
            <a:avLst/>
          </a:prstGeom>
        </p:spPr>
      </p:pic>
      <p:sp>
        <p:nvSpPr>
          <p:cNvPr id="10" name="Plassholder for bilde 3">
            <a:extLst>
              <a:ext uri="{FF2B5EF4-FFF2-40B4-BE49-F238E27FC236}">
                <a16:creationId xmlns:a16="http://schemas.microsoft.com/office/drawing/2014/main" id="{A8269EFD-8FB0-3948-A2FF-C60630AE27C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600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nb-NO"/>
              <a:t>Dobbelt klikk på bildeikonet for å legge inn bilde</a:t>
            </a:r>
          </a:p>
        </p:txBody>
      </p:sp>
      <p:sp>
        <p:nvSpPr>
          <p:cNvPr id="6" name="TextBox 8">
            <a:extLst>
              <a:ext uri="{FF2B5EF4-FFF2-40B4-BE49-F238E27FC236}">
                <a16:creationId xmlns:a16="http://schemas.microsoft.com/office/drawing/2014/main" id="{1925B7BF-E893-46C1-A860-87883E3E442C}"/>
              </a:ext>
            </a:extLst>
          </p:cNvPr>
          <p:cNvSpPr txBox="1"/>
          <p:nvPr userDrawn="1"/>
        </p:nvSpPr>
        <p:spPr>
          <a:xfrm>
            <a:off x="6096000" y="6588088"/>
            <a:ext cx="6096000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pt" sz="800">
                <a:solidFill>
                  <a:schemeClr val="bg1"/>
                </a:solidFill>
              </a:rPr>
              <a:t>© </a:t>
            </a:r>
            <a:r>
              <a:rPr lang="nb-NO" sz="800">
                <a:solidFill>
                  <a:schemeClr val="bg1"/>
                </a:solidFill>
              </a:rPr>
              <a:t>Sensio AS</a:t>
            </a:r>
            <a:r>
              <a:rPr lang="pt" sz="800">
                <a:solidFill>
                  <a:schemeClr val="bg1"/>
                </a:solidFill>
              </a:rPr>
              <a:t> 2024</a:t>
            </a:r>
            <a:endParaRPr lang="nb-NO" sz="800">
              <a:solidFill>
                <a:schemeClr val="bg1"/>
              </a:solidFill>
            </a:endParaRPr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29AA06DA-67C7-47D8-842E-89D85B34479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35429" y="378904"/>
            <a:ext cx="1144801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251955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om ly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4E1178C0-8D68-4C88-9F1D-369EDCB8C2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26756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4E1178C0-8D68-4C88-9F1D-369EDCB8C2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Bilde 6">
            <a:extLst>
              <a:ext uri="{FF2B5EF4-FFF2-40B4-BE49-F238E27FC236}">
                <a16:creationId xmlns:a16="http://schemas.microsoft.com/office/drawing/2014/main" id="{A444A815-048E-634D-9DF2-9BC9236B9EB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5421" y="384345"/>
            <a:ext cx="1351150" cy="351299"/>
          </a:xfrm>
          <a:prstGeom prst="rect">
            <a:avLst/>
          </a:prstGeom>
        </p:spPr>
      </p:pic>
      <p:sp>
        <p:nvSpPr>
          <p:cNvPr id="3" name="TextBox 8">
            <a:extLst>
              <a:ext uri="{FF2B5EF4-FFF2-40B4-BE49-F238E27FC236}">
                <a16:creationId xmlns:a16="http://schemas.microsoft.com/office/drawing/2014/main" id="{098F6738-27AF-47BA-BCB1-051BAB336658}"/>
              </a:ext>
            </a:extLst>
          </p:cNvPr>
          <p:cNvSpPr txBox="1"/>
          <p:nvPr userDrawn="1"/>
        </p:nvSpPr>
        <p:spPr>
          <a:xfrm>
            <a:off x="0" y="6588088"/>
            <a:ext cx="12192000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© Sensio AS 2024 - </a:t>
            </a:r>
            <a:r>
              <a:rPr lang="nb-NO" sz="800" err="1">
                <a:solidFill>
                  <a:schemeClr val="tx1"/>
                </a:solidFill>
              </a:rPr>
              <a:t>External</a:t>
            </a:r>
            <a:r>
              <a:rPr lang="nb-NO" sz="800">
                <a:solidFill>
                  <a:schemeClr val="tx1"/>
                </a:solidFill>
              </a:rPr>
              <a:t> </a:t>
            </a:r>
            <a:r>
              <a:rPr lang="nb-NO" sz="800" err="1">
                <a:solidFill>
                  <a:schemeClr val="tx1"/>
                </a:solidFill>
              </a:rPr>
              <a:t>Use</a:t>
            </a:r>
            <a:endParaRPr lang="pt" sz="800">
              <a:solidFill>
                <a:schemeClr val="tx1"/>
              </a:solidFill>
            </a:endParaRPr>
          </a:p>
        </p:txBody>
      </p:sp>
      <p:sp>
        <p:nvSpPr>
          <p:cNvPr id="4" name="Tittel 1">
            <a:extLst>
              <a:ext uri="{FF2B5EF4-FFF2-40B4-BE49-F238E27FC236}">
                <a16:creationId xmlns:a16="http://schemas.microsoft.com/office/drawing/2014/main" id="{E7ED22C2-3524-4C06-B360-F76631BB46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32498"/>
            <a:ext cx="10696574" cy="594665"/>
          </a:xfrm>
          <a:ln>
            <a:noFill/>
          </a:ln>
        </p:spPr>
        <p:txBody>
          <a:bodyPr vert="horz" anchor="b" anchorCtr="0"/>
          <a:lstStyle>
            <a:lvl1pPr>
              <a:defRPr lang="nb-NO" dirty="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5" name="Plassholder for innhold 2">
            <a:extLst>
              <a:ext uri="{FF2B5EF4-FFF2-40B4-BE49-F238E27FC236}">
                <a16:creationId xmlns:a16="http://schemas.microsoft.com/office/drawing/2014/main" id="{7517255C-3EF7-4512-ACDD-6415DF074E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599309"/>
            <a:ext cx="10696575" cy="467766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marL="742950" indent="-28575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1200150" indent="-28575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</p:txBody>
      </p:sp>
    </p:spTree>
    <p:extLst>
      <p:ext uri="{BB962C8B-B14F-4D97-AF65-F5344CB8AC3E}">
        <p14:creationId xmlns:p14="http://schemas.microsoft.com/office/powerpoint/2010/main" val="33645555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med høyrebil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>
            <a:extLst>
              <a:ext uri="{FF2B5EF4-FFF2-40B4-BE49-F238E27FC236}">
                <a16:creationId xmlns:a16="http://schemas.microsoft.com/office/drawing/2014/main" id="{9B80825F-FD71-8D43-902B-E41AF655E9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238718" y="4769803"/>
            <a:ext cx="3457731" cy="3608424"/>
          </a:xfrm>
          <a:prstGeom prst="rect">
            <a:avLst/>
          </a:prstGeom>
        </p:spPr>
      </p:pic>
      <p:sp>
        <p:nvSpPr>
          <p:cNvPr id="10" name="Plassholder for bilde 3">
            <a:extLst>
              <a:ext uri="{FF2B5EF4-FFF2-40B4-BE49-F238E27FC236}">
                <a16:creationId xmlns:a16="http://schemas.microsoft.com/office/drawing/2014/main" id="{A8269EFD-8FB0-3948-A2FF-C60630AE27C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0"/>
            <a:ext cx="6096000" cy="6858000"/>
          </a:xfrm>
          <a:solidFill>
            <a:schemeClr val="bg1">
              <a:lumMod val="85000"/>
            </a:schemeClr>
          </a:solidFill>
        </p:spPr>
        <p:txBody>
          <a:bodyPr lIns="1440000" tIns="46800" rIns="1440000" anchor="ctr" anchorCtr="0"/>
          <a:lstStyle>
            <a:lvl1pPr marL="0" indent="0" algn="ctr">
              <a:buNone/>
              <a:defRPr/>
            </a:lvl1pPr>
          </a:lstStyle>
          <a:p>
            <a:r>
              <a:rPr lang="nb-NO"/>
              <a:t>Dobbelt klikk for </a:t>
            </a:r>
          </a:p>
          <a:p>
            <a:endParaRPr lang="nb-NO"/>
          </a:p>
          <a:p>
            <a:r>
              <a:rPr lang="nb-NO"/>
              <a:t>å legge inn bilde</a:t>
            </a:r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472C4CEE-5632-3E44-ACB4-BFF5BCAECA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00246" y="2626321"/>
            <a:ext cx="4091085" cy="1608795"/>
          </a:xfrm>
        </p:spPr>
        <p:txBody>
          <a:bodyPr anchor="t">
            <a:norm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</a:t>
            </a:r>
          </a:p>
        </p:txBody>
      </p:sp>
      <p:sp>
        <p:nvSpPr>
          <p:cNvPr id="6" name="TextBox 8">
            <a:extLst>
              <a:ext uri="{FF2B5EF4-FFF2-40B4-BE49-F238E27FC236}">
                <a16:creationId xmlns:a16="http://schemas.microsoft.com/office/drawing/2014/main" id="{E8F98F59-69A8-4DEB-9119-FF20B4E8360A}"/>
              </a:ext>
            </a:extLst>
          </p:cNvPr>
          <p:cNvSpPr txBox="1"/>
          <p:nvPr userDrawn="1"/>
        </p:nvSpPr>
        <p:spPr>
          <a:xfrm>
            <a:off x="0" y="6588088"/>
            <a:ext cx="6096000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pt" sz="800">
                <a:solidFill>
                  <a:schemeClr val="bg1"/>
                </a:solidFill>
              </a:rPr>
              <a:t>© </a:t>
            </a:r>
            <a:r>
              <a:rPr lang="nb-NO" sz="800">
                <a:solidFill>
                  <a:schemeClr val="bg1"/>
                </a:solidFill>
              </a:rPr>
              <a:t>Sensio AS</a:t>
            </a:r>
            <a:r>
              <a:rPr lang="pt" sz="800">
                <a:solidFill>
                  <a:schemeClr val="bg1"/>
                </a:solidFill>
              </a:rPr>
              <a:t> 2024</a:t>
            </a:r>
            <a:endParaRPr lang="nb-NO" sz="800">
              <a:solidFill>
                <a:schemeClr val="bg1"/>
              </a:solidFill>
            </a:endParaRP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25726091-3F6E-4CE0-8DCF-7EACAE2523A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4944" y="417740"/>
            <a:ext cx="1351150" cy="351299"/>
          </a:xfrm>
          <a:prstGeom prst="rect">
            <a:avLst/>
          </a:prstGeom>
        </p:spPr>
      </p:pic>
      <p:pic>
        <p:nvPicPr>
          <p:cNvPr id="11" name="Bilde 10">
            <a:extLst>
              <a:ext uri="{FF2B5EF4-FFF2-40B4-BE49-F238E27FC236}">
                <a16:creationId xmlns:a16="http://schemas.microsoft.com/office/drawing/2014/main" id="{F01DDBEA-3D90-42D3-AF9F-BEDB0DE6293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612255" y="421550"/>
            <a:ext cx="1144801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49349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>
            <a:extLst>
              <a:ext uri="{FF2B5EF4-FFF2-40B4-BE49-F238E27FC236}">
                <a16:creationId xmlns:a16="http://schemas.microsoft.com/office/drawing/2014/main" id="{A444A815-048E-634D-9DF2-9BC9236B9E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05421" y="384345"/>
            <a:ext cx="1351150" cy="351299"/>
          </a:xfrm>
          <a:prstGeom prst="rect">
            <a:avLst/>
          </a:prstGeom>
        </p:spPr>
      </p:pic>
      <p:pic>
        <p:nvPicPr>
          <p:cNvPr id="8" name="Bilde 7">
            <a:extLst>
              <a:ext uri="{FF2B5EF4-FFF2-40B4-BE49-F238E27FC236}">
                <a16:creationId xmlns:a16="http://schemas.microsoft.com/office/drawing/2014/main" id="{85F789B1-04DD-9F45-A566-B7EBC954085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 flipH="1">
            <a:off x="9800132" y="1642515"/>
            <a:ext cx="4008967" cy="4433445"/>
          </a:xfrm>
          <a:prstGeom prst="rect">
            <a:avLst/>
          </a:prstGeom>
        </p:spPr>
      </p:pic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3F5CA4DE-FDE4-B94D-B6C7-D161606C27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3014374"/>
            <a:ext cx="8314944" cy="3175286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6" name="Tittel 1">
            <a:extLst>
              <a:ext uri="{FF2B5EF4-FFF2-40B4-BE49-F238E27FC236}">
                <a16:creationId xmlns:a16="http://schemas.microsoft.com/office/drawing/2014/main" id="{659BB3B6-B316-5B4F-9D24-70E3C8F479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257261"/>
            <a:ext cx="8314944" cy="594665"/>
          </a:xfrm>
          <a:ln>
            <a:noFill/>
          </a:ln>
        </p:spPr>
        <p:txBody>
          <a:bodyPr anchor="b" anchorCtr="0"/>
          <a:lstStyle>
            <a:lvl1pPr>
              <a:defRPr lang="nb-NO" dirty="0"/>
            </a:lvl1pPr>
          </a:lstStyle>
          <a:p>
            <a:r>
              <a:rPr lang="nb-NO"/>
              <a:t>Klikk for å redigere titt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3997BA3-441E-5847-83F5-C02DB0BFFBF3}"/>
              </a:ext>
            </a:extLst>
          </p:cNvPr>
          <p:cNvSpPr txBox="1"/>
          <p:nvPr userDrawn="1"/>
        </p:nvSpPr>
        <p:spPr>
          <a:xfrm>
            <a:off x="0" y="6588088"/>
            <a:ext cx="12192000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pt" sz="800">
                <a:solidFill>
                  <a:srgbClr val="1D2242"/>
                </a:solidFill>
              </a:rPr>
              <a:t>© </a:t>
            </a:r>
            <a:r>
              <a:rPr lang="nb-NO" sz="800">
                <a:solidFill>
                  <a:srgbClr val="1D2242"/>
                </a:solidFill>
              </a:rPr>
              <a:t>Sensio AS</a:t>
            </a:r>
            <a:r>
              <a:rPr lang="pt" sz="800">
                <a:solidFill>
                  <a:srgbClr val="1D2242"/>
                </a:solidFill>
              </a:rPr>
              <a:t> 2024</a:t>
            </a:r>
            <a:endParaRPr lang="nb-NO" sz="800">
              <a:solidFill>
                <a:srgbClr val="1D2242"/>
              </a:solidFill>
            </a:endParaRP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4A1D8B03-75EA-488B-9871-61F70341741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35429" y="378904"/>
            <a:ext cx="1144801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34781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mer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>
            <a:extLst>
              <a:ext uri="{FF2B5EF4-FFF2-40B4-BE49-F238E27FC236}">
                <a16:creationId xmlns:a16="http://schemas.microsoft.com/office/drawing/2014/main" id="{A444A815-048E-634D-9DF2-9BC9236B9E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05421" y="384345"/>
            <a:ext cx="1351150" cy="351299"/>
          </a:xfrm>
          <a:prstGeom prst="rect">
            <a:avLst/>
          </a:prstGeom>
        </p:spPr>
      </p:pic>
      <p:pic>
        <p:nvPicPr>
          <p:cNvPr id="8" name="Bilde 7">
            <a:extLst>
              <a:ext uri="{FF2B5EF4-FFF2-40B4-BE49-F238E27FC236}">
                <a16:creationId xmlns:a16="http://schemas.microsoft.com/office/drawing/2014/main" id="{85F789B1-04DD-9F45-A566-B7EBC954085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 flipH="1">
            <a:off x="9706826" y="1636295"/>
            <a:ext cx="4008967" cy="4433445"/>
          </a:xfrm>
          <a:prstGeom prst="rect">
            <a:avLst/>
          </a:prstGeom>
        </p:spPr>
      </p:pic>
      <p:sp>
        <p:nvSpPr>
          <p:cNvPr id="9" name="Tittel 1">
            <a:extLst>
              <a:ext uri="{FF2B5EF4-FFF2-40B4-BE49-F238E27FC236}">
                <a16:creationId xmlns:a16="http://schemas.microsoft.com/office/drawing/2014/main" id="{9C711CBB-7686-3444-9B53-BEAF6FFBBB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218894"/>
            <a:ext cx="8314944" cy="594665"/>
          </a:xfrm>
        </p:spPr>
        <p:txBody>
          <a:bodyPr anchor="b" anchorCtr="0"/>
          <a:lstStyle>
            <a:lvl1pPr>
              <a:defRPr b="1"/>
            </a:lvl1pPr>
          </a:lstStyle>
          <a:p>
            <a:r>
              <a:rPr lang="nb-NO"/>
              <a:t>Klikk for å redigere tittel</a:t>
            </a:r>
          </a:p>
        </p:txBody>
      </p:sp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912CF5C0-E7A2-1942-BA17-336FBF3AC1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983095"/>
            <a:ext cx="8314944" cy="4125114"/>
          </a:xfrm>
        </p:spPr>
        <p:txBody>
          <a:bodyPr/>
          <a:lstStyle>
            <a:lvl1pPr>
              <a:defRPr/>
            </a:lvl1pPr>
            <a:lvl2pPr marL="742950" indent="-285750">
              <a:buFont typeface="Arial" panose="020B0604020202020204" pitchFamily="34" charset="0"/>
              <a:buChar char="•"/>
              <a:defRPr/>
            </a:lvl2pPr>
            <a:lvl3pPr marL="1200150" indent="-285750"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1" name="TextBox 8">
            <a:extLst>
              <a:ext uri="{FF2B5EF4-FFF2-40B4-BE49-F238E27FC236}">
                <a16:creationId xmlns:a16="http://schemas.microsoft.com/office/drawing/2014/main" id="{9E4330DD-8D56-4C3B-A3C2-9BD910E04B22}"/>
              </a:ext>
            </a:extLst>
          </p:cNvPr>
          <p:cNvSpPr txBox="1"/>
          <p:nvPr userDrawn="1"/>
        </p:nvSpPr>
        <p:spPr>
          <a:xfrm>
            <a:off x="0" y="6588088"/>
            <a:ext cx="12192000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pt" sz="800">
                <a:solidFill>
                  <a:srgbClr val="1D2242"/>
                </a:solidFill>
              </a:rPr>
              <a:t>© </a:t>
            </a:r>
            <a:r>
              <a:rPr lang="nb-NO" sz="800">
                <a:solidFill>
                  <a:srgbClr val="1D2242"/>
                </a:solidFill>
              </a:rPr>
              <a:t>Sensio AS</a:t>
            </a:r>
            <a:r>
              <a:rPr lang="pt" sz="800">
                <a:solidFill>
                  <a:srgbClr val="1D2242"/>
                </a:solidFill>
              </a:rPr>
              <a:t> 2024</a:t>
            </a:r>
            <a:endParaRPr lang="nb-NO" sz="800">
              <a:solidFill>
                <a:srgbClr val="1D2242"/>
              </a:solidFill>
            </a:endParaRPr>
          </a:p>
        </p:txBody>
      </p:sp>
      <p:pic>
        <p:nvPicPr>
          <p:cNvPr id="12" name="Bilde 11">
            <a:extLst>
              <a:ext uri="{FF2B5EF4-FFF2-40B4-BE49-F238E27FC236}">
                <a16:creationId xmlns:a16="http://schemas.microsoft.com/office/drawing/2014/main" id="{B2823026-F259-4C4B-BE70-8F9DEBB030B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35429" y="378904"/>
            <a:ext cx="1144801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33367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 og mer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>
            <a:extLst>
              <a:ext uri="{FF2B5EF4-FFF2-40B4-BE49-F238E27FC236}">
                <a16:creationId xmlns:a16="http://schemas.microsoft.com/office/drawing/2014/main" id="{A444A815-048E-634D-9DF2-9BC9236B9E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05421" y="384345"/>
            <a:ext cx="1351150" cy="351299"/>
          </a:xfrm>
          <a:prstGeom prst="rect">
            <a:avLst/>
          </a:prstGeom>
        </p:spPr>
      </p:pic>
      <p:sp>
        <p:nvSpPr>
          <p:cNvPr id="9" name="Tittel 1">
            <a:extLst>
              <a:ext uri="{FF2B5EF4-FFF2-40B4-BE49-F238E27FC236}">
                <a16:creationId xmlns:a16="http://schemas.microsoft.com/office/drawing/2014/main" id="{9C711CBB-7686-3444-9B53-BEAF6FFBBB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218894"/>
            <a:ext cx="8314944" cy="594665"/>
          </a:xfrm>
        </p:spPr>
        <p:txBody>
          <a:bodyPr anchor="b" anchorCtr="0"/>
          <a:lstStyle>
            <a:lvl1pPr>
              <a:defRPr b="1"/>
            </a:lvl1pPr>
          </a:lstStyle>
          <a:p>
            <a:r>
              <a:rPr lang="nb-NO"/>
              <a:t>Klikk for å redigere tittel</a:t>
            </a:r>
          </a:p>
        </p:txBody>
      </p:sp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912CF5C0-E7A2-1942-BA17-336FBF3AC1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983095"/>
            <a:ext cx="8314944" cy="4125114"/>
          </a:xfrm>
        </p:spPr>
        <p:txBody>
          <a:bodyPr/>
          <a:lstStyle>
            <a:lvl1pPr>
              <a:defRPr/>
            </a:lvl1pPr>
            <a:lvl2pPr marL="742950" indent="-285750">
              <a:buFont typeface="Arial" panose="020B0604020202020204" pitchFamily="34" charset="0"/>
              <a:buChar char="•"/>
              <a:defRPr/>
            </a:lvl2pPr>
            <a:lvl3pPr marL="1200150" indent="-285750"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6" name="TextBox 8">
            <a:extLst>
              <a:ext uri="{FF2B5EF4-FFF2-40B4-BE49-F238E27FC236}">
                <a16:creationId xmlns:a16="http://schemas.microsoft.com/office/drawing/2014/main" id="{91AF508F-F8EC-43C7-A8F7-4B5438BAB2D8}"/>
              </a:ext>
            </a:extLst>
          </p:cNvPr>
          <p:cNvSpPr txBox="1"/>
          <p:nvPr userDrawn="1"/>
        </p:nvSpPr>
        <p:spPr>
          <a:xfrm>
            <a:off x="0" y="6588088"/>
            <a:ext cx="12192000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pt" sz="800">
                <a:solidFill>
                  <a:srgbClr val="1D2242"/>
                </a:solidFill>
              </a:rPr>
              <a:t>© </a:t>
            </a:r>
            <a:r>
              <a:rPr lang="nb-NO" sz="800">
                <a:solidFill>
                  <a:srgbClr val="1D2242"/>
                </a:solidFill>
              </a:rPr>
              <a:t>Sensio AS</a:t>
            </a:r>
            <a:r>
              <a:rPr lang="pt" sz="800">
                <a:solidFill>
                  <a:srgbClr val="1D2242"/>
                </a:solidFill>
              </a:rPr>
              <a:t> 2024</a:t>
            </a:r>
            <a:endParaRPr lang="nb-NO" sz="800">
              <a:solidFill>
                <a:srgbClr val="1D2242"/>
              </a:solidFill>
            </a:endParaRP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05B7C39A-662C-4FE8-B06D-4578637797F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5429" y="378904"/>
            <a:ext cx="1144801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90660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go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>
            <a:extLst>
              <a:ext uri="{FF2B5EF4-FFF2-40B4-BE49-F238E27FC236}">
                <a16:creationId xmlns:a16="http://schemas.microsoft.com/office/drawing/2014/main" id="{A444A815-048E-634D-9DF2-9BC9236B9E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05421" y="384345"/>
            <a:ext cx="1351150" cy="351299"/>
          </a:xfrm>
          <a:prstGeom prst="rect">
            <a:avLst/>
          </a:prstGeom>
        </p:spPr>
      </p:pic>
      <p:pic>
        <p:nvPicPr>
          <p:cNvPr id="9" name="Bilde 8">
            <a:extLst>
              <a:ext uri="{FF2B5EF4-FFF2-40B4-BE49-F238E27FC236}">
                <a16:creationId xmlns:a16="http://schemas.microsoft.com/office/drawing/2014/main" id="{9F8C8EA7-07AC-944B-8C5A-3E0D8360D7E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 flipH="1">
            <a:off x="7695145" y="5135293"/>
            <a:ext cx="3115533" cy="3445412"/>
          </a:xfrm>
          <a:prstGeom prst="rect">
            <a:avLst/>
          </a:prstGeom>
        </p:spPr>
      </p:pic>
      <p:sp>
        <p:nvSpPr>
          <p:cNvPr id="11" name="Plassholder for innhold 2">
            <a:extLst>
              <a:ext uri="{FF2B5EF4-FFF2-40B4-BE49-F238E27FC236}">
                <a16:creationId xmlns:a16="http://schemas.microsoft.com/office/drawing/2014/main" id="{385AE6A5-17F6-F840-8DB3-3BC8422F44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41832" y="1810280"/>
            <a:ext cx="8314944" cy="3238214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6" name="Tittel 1">
            <a:extLst>
              <a:ext uri="{FF2B5EF4-FFF2-40B4-BE49-F238E27FC236}">
                <a16:creationId xmlns:a16="http://schemas.microsoft.com/office/drawing/2014/main" id="{342AEDAA-54C4-7445-8DFF-2626886108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1832" y="1053167"/>
            <a:ext cx="8314944" cy="594665"/>
          </a:xfrm>
          <a:ln>
            <a:noFill/>
          </a:ln>
        </p:spPr>
        <p:txBody>
          <a:bodyPr anchor="b" anchorCtr="0"/>
          <a:lstStyle>
            <a:lvl1pPr>
              <a:defRPr lang="nb-NO" dirty="0"/>
            </a:lvl1pPr>
          </a:lstStyle>
          <a:p>
            <a:r>
              <a:rPr lang="nb-NO"/>
              <a:t>Klikk for å redigere tittel</a:t>
            </a:r>
          </a:p>
        </p:txBody>
      </p:sp>
      <p:sp>
        <p:nvSpPr>
          <p:cNvPr id="10" name="TextBox 8">
            <a:extLst>
              <a:ext uri="{FF2B5EF4-FFF2-40B4-BE49-F238E27FC236}">
                <a16:creationId xmlns:a16="http://schemas.microsoft.com/office/drawing/2014/main" id="{E7392884-C0DC-4CB4-BCBB-0D854193E2BA}"/>
              </a:ext>
            </a:extLst>
          </p:cNvPr>
          <p:cNvSpPr txBox="1"/>
          <p:nvPr userDrawn="1"/>
        </p:nvSpPr>
        <p:spPr>
          <a:xfrm>
            <a:off x="0" y="6588088"/>
            <a:ext cx="12192000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pt" sz="800">
                <a:solidFill>
                  <a:srgbClr val="1D2242"/>
                </a:solidFill>
              </a:rPr>
              <a:t>© </a:t>
            </a:r>
            <a:r>
              <a:rPr lang="nb-NO" sz="800">
                <a:solidFill>
                  <a:srgbClr val="1D2242"/>
                </a:solidFill>
              </a:rPr>
              <a:t>Sensio AS</a:t>
            </a:r>
            <a:r>
              <a:rPr lang="pt" sz="800">
                <a:solidFill>
                  <a:srgbClr val="1D2242"/>
                </a:solidFill>
              </a:rPr>
              <a:t> 2024</a:t>
            </a:r>
            <a:endParaRPr lang="nb-NO" sz="800">
              <a:solidFill>
                <a:srgbClr val="1D2242"/>
              </a:solidFill>
            </a:endParaRP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EBFFFDC9-DEE4-4BB0-AA8A-2B2A26E408C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35429" y="378904"/>
            <a:ext cx="1144801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29332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20.xml"/><Relationship Id="rId41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30D9D16-6819-4FDD-9BC5-26694FBEAA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2832027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408" imgH="408" progId="TCLayout.ActiveDocument.1">
                  <p:embed/>
                </p:oleObj>
              </mc:Choice>
              <mc:Fallback>
                <p:oleObj name="think-cell Slide" r:id="rId44" imgW="408" imgH="40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30D9D16-6819-4FDD-9BC5-26694FBEAA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56E6D9C5-14D8-44F3-8296-68E8D908A700}"/>
              </a:ext>
            </a:extLst>
          </p:cNvPr>
          <p:cNvSpPr/>
          <p:nvPr userDrawn="1">
            <p:custDataLst>
              <p:tags r:id="rId4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2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8E4C11EA-4283-B843-B286-384798D136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280846"/>
            <a:ext cx="10515600" cy="5067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9F19F02D-A116-1249-9627-FFC26CF2B9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</p:txBody>
      </p:sp>
    </p:spTree>
    <p:extLst>
      <p:ext uri="{BB962C8B-B14F-4D97-AF65-F5344CB8AC3E}">
        <p14:creationId xmlns:p14="http://schemas.microsoft.com/office/powerpoint/2010/main" val="19187840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49" r:id="rId2"/>
    <p:sldLayoutId id="2147483684" r:id="rId3"/>
    <p:sldLayoutId id="2147483661" r:id="rId4"/>
    <p:sldLayoutId id="2147483685" r:id="rId5"/>
    <p:sldLayoutId id="2147483662" r:id="rId6"/>
    <p:sldLayoutId id="2147483663" r:id="rId7"/>
    <p:sldLayoutId id="2147483722" r:id="rId8"/>
    <p:sldLayoutId id="2147483668" r:id="rId9"/>
    <p:sldLayoutId id="2147483682" r:id="rId10"/>
    <p:sldLayoutId id="2147483720" r:id="rId11"/>
    <p:sldLayoutId id="2147483721" r:id="rId12"/>
    <p:sldLayoutId id="2147483688" r:id="rId13"/>
    <p:sldLayoutId id="2147483719" r:id="rId14"/>
    <p:sldLayoutId id="2147483666" r:id="rId15"/>
    <p:sldLayoutId id="2147483667" r:id="rId16"/>
    <p:sldLayoutId id="2147483680" r:id="rId17"/>
    <p:sldLayoutId id="2147483664" r:id="rId18"/>
    <p:sldLayoutId id="2147483665" r:id="rId19"/>
    <p:sldLayoutId id="2147483652" r:id="rId20"/>
    <p:sldLayoutId id="2147483822" r:id="rId21"/>
    <p:sldLayoutId id="2147483825" r:id="rId22"/>
    <p:sldLayoutId id="2147483738" r:id="rId23"/>
    <p:sldLayoutId id="2147483739" r:id="rId24"/>
    <p:sldLayoutId id="2147483740" r:id="rId25"/>
    <p:sldLayoutId id="2147483741" r:id="rId26"/>
    <p:sldLayoutId id="2147483742" r:id="rId27"/>
    <p:sldLayoutId id="2147483743" r:id="rId28"/>
    <p:sldLayoutId id="2147483744" r:id="rId29"/>
    <p:sldLayoutId id="2147483745" r:id="rId30"/>
    <p:sldLayoutId id="2147483746" r:id="rId31"/>
    <p:sldLayoutId id="2147483747" r:id="rId32"/>
    <p:sldLayoutId id="2147483748" r:id="rId33"/>
    <p:sldLayoutId id="2147483749" r:id="rId34"/>
    <p:sldLayoutId id="2147483750" r:id="rId35"/>
    <p:sldLayoutId id="2147483751" r:id="rId36"/>
    <p:sldLayoutId id="2147483752" r:id="rId37"/>
    <p:sldLayoutId id="2147483753" r:id="rId38"/>
    <p:sldLayoutId id="2147483754" r:id="rId39"/>
    <p:sldLayoutId id="2147483826" r:id="rId4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85750" indent="-28575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20015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9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A012AC65-4565-A9E3-5376-626DFB0BE95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441439"/>
              </p:ext>
            </p:extLst>
          </p:nvPr>
        </p:nvGraphicFramePr>
        <p:xfrm>
          <a:off x="2442938" y="1119944"/>
          <a:ext cx="7204986" cy="50729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2" name="TekstSylinder 3">
            <a:extLst>
              <a:ext uri="{FF2B5EF4-FFF2-40B4-BE49-F238E27FC236}">
                <a16:creationId xmlns:a16="http://schemas.microsoft.com/office/drawing/2014/main" id="{78FB15ED-CBA9-C73A-C14E-8DB7EADDF209}"/>
              </a:ext>
            </a:extLst>
          </p:cNvPr>
          <p:cNvSpPr txBox="1"/>
          <p:nvPr/>
        </p:nvSpPr>
        <p:spPr>
          <a:xfrm>
            <a:off x="3054206" y="52554"/>
            <a:ext cx="6753823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spAutoFit/>
          </a:bodyPr>
          <a:lstStyle/>
          <a:p>
            <a:pPr>
              <a:lnSpc>
                <a:spcPct val="90000"/>
              </a:lnSpc>
              <a:tabLst>
                <a:tab pos="359824" algn="l"/>
              </a:tabLst>
            </a:pPr>
            <a:r>
              <a:rPr lang="nb-NO" sz="2000" b="1" i="1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GEVINSTKART</a:t>
            </a:r>
          </a:p>
          <a:p>
            <a:pPr>
              <a:lnSpc>
                <a:spcPct val="90000"/>
              </a:lnSpc>
              <a:tabLst>
                <a:tab pos="359824" algn="l"/>
              </a:tabLst>
            </a:pPr>
            <a:r>
              <a:rPr lang="nb-NO" sz="2000" b="1" i="1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Hvilke gevinster </a:t>
            </a:r>
            <a:r>
              <a:rPr lang="nb-NO" sz="2000" b="1" i="1" u="sng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ønsker</a:t>
            </a:r>
            <a:r>
              <a:rPr lang="nb-NO" sz="2000" b="1" i="1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vi å oppnå med IKOS?</a:t>
            </a:r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03DBC404-6943-DCD3-7089-22F7ABB34B34}"/>
              </a:ext>
            </a:extLst>
          </p:cNvPr>
          <p:cNvSpPr txBox="1"/>
          <p:nvPr/>
        </p:nvSpPr>
        <p:spPr>
          <a:xfrm>
            <a:off x="256032" y="3136392"/>
            <a:ext cx="1600200" cy="9037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l"/>
            <a:r>
              <a:rPr lang="nb-NO" i="1"/>
              <a:t>Fylles ut og presenteres i 1. veiledning</a:t>
            </a:r>
          </a:p>
        </p:txBody>
      </p:sp>
    </p:spTree>
    <p:extLst>
      <p:ext uri="{BB962C8B-B14F-4D97-AF65-F5344CB8AC3E}">
        <p14:creationId xmlns:p14="http://schemas.microsoft.com/office/powerpoint/2010/main" val="38979384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AsOne/>
      </p:bldGraphic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4wm9wyenC.KJLTbBhUqY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">
      <a:dk1>
        <a:srgbClr val="333333"/>
      </a:dk1>
      <a:lt1>
        <a:srgbClr val="FFFFFF"/>
      </a:lt1>
      <a:dk2>
        <a:srgbClr val="1D2241"/>
      </a:dk2>
      <a:lt2>
        <a:srgbClr val="E7E6E6"/>
      </a:lt2>
      <a:accent1>
        <a:srgbClr val="1D2241"/>
      </a:accent1>
      <a:accent2>
        <a:srgbClr val="83DDCD"/>
      </a:accent2>
      <a:accent3>
        <a:srgbClr val="F3F1E9"/>
      </a:accent3>
      <a:accent4>
        <a:srgbClr val="00A39C"/>
      </a:accent4>
      <a:accent5>
        <a:srgbClr val="EC6665"/>
      </a:accent5>
      <a:accent6>
        <a:srgbClr val="CAE3D1"/>
      </a:accent6>
      <a:hlink>
        <a:srgbClr val="00A39C"/>
      </a:hlink>
      <a:folHlink>
        <a:srgbClr val="0080D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a:style>
    </a:spDef>
    <a:txDef>
      <a:spPr>
        <a:noFill/>
      </a:spPr>
      <a:bodyPr wrap="square" lIns="36000" tIns="36000" rIns="36000" bIns="36000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2018 Sensio" id="{D21D8606-1D0B-4509-83A5-9C2785965579}" vid="{A5892FFC-421C-4313-988F-A3A541A867A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85458fe-73c3-46f0-9937-41bfe460fe3b" xsi:nil="true"/>
    <lcf76f155ced4ddcb4097134ff3c332f xmlns="089d60f7-f98a-4aab-a51f-b7a36d2493ad">
      <Terms xmlns="http://schemas.microsoft.com/office/infopath/2007/PartnerControls"/>
    </lcf76f155ced4ddcb4097134ff3c332f>
    <Plassering xmlns="089d60f7-f98a-4aab-a51f-b7a36d2493ad" xsi:nil="true"/>
    <Edited xmlns="089d60f7-f98a-4aab-a51f-b7a36d2493ad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9DB2DA36E6F65247B31EE60F0032A5F6" ma:contentTypeVersion="27" ma:contentTypeDescription="Opprett et nytt dokument." ma:contentTypeScope="" ma:versionID="9e1c4b04ac2b6de850afdd0d27842e81">
  <xsd:schema xmlns:xsd="http://www.w3.org/2001/XMLSchema" xmlns:xs="http://www.w3.org/2001/XMLSchema" xmlns:p="http://schemas.microsoft.com/office/2006/metadata/properties" xmlns:ns2="089d60f7-f98a-4aab-a51f-b7a36d2493ad" xmlns:ns3="285458fe-73c3-46f0-9937-41bfe460fe3b" targetNamespace="http://schemas.microsoft.com/office/2006/metadata/properties" ma:root="true" ma:fieldsID="1f519798da82ed2cc483825ff3d5acca" ns2:_="" ns3:_="">
    <xsd:import namespace="089d60f7-f98a-4aab-a51f-b7a36d2493ad"/>
    <xsd:import namespace="285458fe-73c3-46f0-9937-41bfe460fe3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Plassering" minOccurs="0"/>
                <xsd:element ref="ns2:db068b4e-7dd5-445b-9c55-1b3edc161826CountryOrRegion" minOccurs="0"/>
                <xsd:element ref="ns2:db068b4e-7dd5-445b-9c55-1b3edc161826State" minOccurs="0"/>
                <xsd:element ref="ns2:db068b4e-7dd5-445b-9c55-1b3edc161826City" minOccurs="0"/>
                <xsd:element ref="ns2:db068b4e-7dd5-445b-9c55-1b3edc161826PostalCode" minOccurs="0"/>
                <xsd:element ref="ns2:db068b4e-7dd5-445b-9c55-1b3edc161826Street" minOccurs="0"/>
                <xsd:element ref="ns2:db068b4e-7dd5-445b-9c55-1b3edc161826GeoLoc" minOccurs="0"/>
                <xsd:element ref="ns2:db068b4e-7dd5-445b-9c55-1b3edc161826DispName" minOccurs="0"/>
                <xsd:element ref="ns2:MediaServiceObjectDetectorVersions" minOccurs="0"/>
                <xsd:element ref="ns2:MediaServiceSearchProperties" minOccurs="0"/>
                <xsd:element ref="ns2:Edite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89d60f7-f98a-4aab-a51f-b7a36d2493a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emerkelapper" ma:readOnly="false" ma:fieldId="{5cf76f15-5ced-4ddc-b409-7134ff3c332f}" ma:taxonomyMulti="true" ma:sspId="b088be99-b750-4807-a802-d6a3616ac00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Plassering" ma:index="24" nillable="true" ma:displayName="Plassering" ma:format="Dropdown" ma:internalName="Plassering">
      <xsd:simpleType>
        <xsd:restriction base="dms:Unknown"/>
      </xsd:simpleType>
    </xsd:element>
    <xsd:element name="db068b4e-7dd5-445b-9c55-1b3edc161826CountryOrRegion" ma:index="25" nillable="true" ma:displayName="Plassering: Land/område" ma:internalName="CountryOrRegion" ma:readOnly="true">
      <xsd:simpleType>
        <xsd:restriction base="dms:Text"/>
      </xsd:simpleType>
    </xsd:element>
    <xsd:element name="db068b4e-7dd5-445b-9c55-1b3edc161826State" ma:index="26" nillable="true" ma:displayName="Plassering: Delstat/område" ma:internalName="State" ma:readOnly="true">
      <xsd:simpleType>
        <xsd:restriction base="dms:Text"/>
      </xsd:simpleType>
    </xsd:element>
    <xsd:element name="db068b4e-7dd5-445b-9c55-1b3edc161826City" ma:index="27" nillable="true" ma:displayName="Plassering: Poststed" ma:internalName="City" ma:readOnly="true">
      <xsd:simpleType>
        <xsd:restriction base="dms:Text"/>
      </xsd:simpleType>
    </xsd:element>
    <xsd:element name="db068b4e-7dd5-445b-9c55-1b3edc161826PostalCode" ma:index="28" nillable="true" ma:displayName="Plassering: Postnummer" ma:internalName="PostalCode" ma:readOnly="true">
      <xsd:simpleType>
        <xsd:restriction base="dms:Text"/>
      </xsd:simpleType>
    </xsd:element>
    <xsd:element name="db068b4e-7dd5-445b-9c55-1b3edc161826Street" ma:index="29" nillable="true" ma:displayName="Plassering: Gate/vei" ma:internalName="Street" ma:readOnly="true">
      <xsd:simpleType>
        <xsd:restriction base="dms:Text"/>
      </xsd:simpleType>
    </xsd:element>
    <xsd:element name="db068b4e-7dd5-445b-9c55-1b3edc161826GeoLoc" ma:index="30" nillable="true" ma:displayName="Plassering: Koordinater" ma:internalName="GeoLoc" ma:readOnly="true">
      <xsd:simpleType>
        <xsd:restriction base="dms:Unknown"/>
      </xsd:simpleType>
    </xsd:element>
    <xsd:element name="db068b4e-7dd5-445b-9c55-1b3edc161826DispName" ma:index="31" nillable="true" ma:displayName="Plassering: Navn" ma:internalName="DispName" ma:readOnly="true">
      <xsd:simpleType>
        <xsd:restriction base="dms:Text"/>
      </xsd:simpleType>
    </xsd:element>
    <xsd:element name="MediaServiceObjectDetectorVersions" ma:index="32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3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Edited" ma:index="34" nillable="true" ma:displayName="Edited" ma:format="DateOnly" ma:internalName="Edited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85458fe-73c3-46f0-9937-41bfe460fe3b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0e9b3e9f-b54c-4241-b8db-afb9c6892b15}" ma:internalName="TaxCatchAll" ma:showField="CatchAllData" ma:web="285458fe-73c3-46f0-9937-41bfe460fe3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9ED8EFB-99B7-47FB-ABFA-3E679EBD986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8874DC6-553C-4275-8989-FFC2714823D4}">
  <ds:schemaRefs>
    <ds:schemaRef ds:uri="089d60f7-f98a-4aab-a51f-b7a36d2493ad"/>
    <ds:schemaRef ds:uri="285458fe-73c3-46f0-9937-41bfe460fe3b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B405F9C0-5155-484E-8122-4419A53F93A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89d60f7-f98a-4aab-a51f-b7a36d2493ad"/>
    <ds:schemaRef ds:uri="285458fe-73c3-46f0-9937-41bfe460fe3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2</Words>
  <Application>Microsoft Office PowerPoint</Application>
  <PresentationFormat>Widescreen</PresentationFormat>
  <Paragraphs>7</Paragraphs>
  <Slides>1</Slides>
  <Notes>0</Notes>
  <HiddenSlides>0</HiddenSlides>
  <MMClips>0</MMClips>
  <ScaleCrop>false</ScaleCrop>
  <HeadingPairs>
    <vt:vector size="8" baseType="variant">
      <vt:variant>
        <vt:lpstr>Brukte skrifter</vt:lpstr>
      </vt:variant>
      <vt:variant>
        <vt:i4>2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</vt:i4>
      </vt:variant>
    </vt:vector>
  </HeadingPairs>
  <TitlesOfParts>
    <vt:vector size="5" baseType="lpstr">
      <vt:lpstr>Arial</vt:lpstr>
      <vt:lpstr>Calibri</vt:lpstr>
      <vt:lpstr>Office-tema</vt:lpstr>
      <vt:lpstr>think-cell Slide</vt:lpstr>
      <vt:lpstr>PowerPoint-presentasj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subject/>
  <dc:creator>Marit Strandquist</dc:creator>
  <cp:keywords/>
  <dc:description/>
  <cp:lastModifiedBy>Kine Kvalsvik</cp:lastModifiedBy>
  <cp:revision>2</cp:revision>
  <cp:lastPrinted>2021-06-14T07:28:53Z</cp:lastPrinted>
  <dcterms:created xsi:type="dcterms:W3CDTF">2019-01-16T11:03:12Z</dcterms:created>
  <dcterms:modified xsi:type="dcterms:W3CDTF">2025-01-22T12:12:59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DB2DA36E6F65247B31EE60F0032A5F6</vt:lpwstr>
  </property>
  <property fmtid="{D5CDD505-2E9C-101B-9397-08002B2CF9AE}" pid="3" name="MediaServiceImageTags">
    <vt:lpwstr/>
  </property>
</Properties>
</file>